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9" r:id="rId4"/>
    <p:sldMasterId id="2147483733" r:id="rId5"/>
    <p:sldMasterId id="2147483763" r:id="rId6"/>
    <p:sldMasterId id="2147483816" r:id="rId7"/>
    <p:sldMasterId id="2147483863" r:id="rId8"/>
  </p:sldMasterIdLst>
  <p:notesMasterIdLst>
    <p:notesMasterId r:id="rId13"/>
  </p:notesMasterIdLst>
  <p:sldIdLst>
    <p:sldId id="2147479753" r:id="rId9"/>
    <p:sldId id="448" r:id="rId10"/>
    <p:sldId id="2147479743" r:id="rId11"/>
    <p:sldId id="2147479751" r:id="rId12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A5CA239-F4B9-31FB-FB44-EF16666F2754}" name="MEILHAN Anne" initials="MA" userId="S::anne.meilhan@somfy.com::ff8e5100-396f-4519-9bf2-060bd9216942" providerId="AD"/>
  <p188:author id="{30C23F4F-BB59-EA6E-D686-4CC034324E62}" name="BELLEVERGUE Veronique" initials="BV" userId="S::veronique.bellevergue@somfy.com::430427cb-b574-4a8a-8701-809d639c8691" providerId="AD"/>
  <p188:author id="{FBBCF78E-E152-4F8C-5039-3FB8C0B42179}" name="WESTERMANN Marc" initials="WM" userId="S::marc.westermann@somfy.com::1ed1c63c-33d8-4452-af81-a22725a88a6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4D5E"/>
    <a:srgbClr val="CCC4BD"/>
    <a:srgbClr val="F1EBE1"/>
    <a:srgbClr val="ECECEC"/>
    <a:srgbClr val="25485A"/>
    <a:srgbClr val="9E0001"/>
    <a:srgbClr val="25484A"/>
    <a:srgbClr val="2548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Styl jasny 2 — Ak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Styl jasny 2 — Ak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Styl jasny 2 — Ak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Styl jasny 2 — Ak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Styl jasny 2 — Ak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84E427A-3D55-4303-BF80-6455036E1DE7}" styleName="Styl z motywem 1 — Ak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yl z motywem 1 — Ak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A107856-5554-42FB-B03E-39F5DBC370BA}" styleName="Styl pośredni 4 — Ak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7AC3CCA-C797-4891-BE02-D94E43425B78}" styleName="Styl pośredni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75DCB02-9BB8-47FD-8907-85C794F793BA}" styleName="Styl z motywem 1 — Ak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Styl z motywem 1 — Ak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73A0DAA-6AF3-43AB-8588-CEC1D06C72B9}" styleName="Styl pośredni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5A9648-C67D-1641-9718-286FC44C8F36}" type="datetimeFigureOut">
              <a:rPr lang="en-GB" smtClean="0"/>
              <a:t>25/09/2025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23D62F-7CA3-B74D-B033-82529AB9C0F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5821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23D62F-7CA3-B74D-B033-82529AB9C0F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38554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00"/>
                </a:solidFill>
                <a:latin typeface="Open Sans" pitchFamily="2" charset="0"/>
              </a:rPr>
              <a:t>Thanks to the Amy io range, improve your thermal comfort during heatwaves. It’s the first wall switches range with an embedded temperature sensor working in stand-alone thanks to an algorithm or connected with a </a:t>
            </a:r>
            <a:r>
              <a:rPr lang="en-US" sz="1800" dirty="0" err="1">
                <a:solidFill>
                  <a:srgbClr val="000000"/>
                </a:solidFill>
                <a:latin typeface="Open Sans" pitchFamily="2" charset="0"/>
              </a:rPr>
              <a:t>TaHoma</a:t>
            </a:r>
            <a:r>
              <a:rPr lang="en-US" sz="1800" dirty="0">
                <a:solidFill>
                  <a:srgbClr val="000000"/>
                </a:solidFill>
                <a:latin typeface="Open Sans" pitchFamily="2" charset="0"/>
              </a:rPr>
              <a:t> scene.</a:t>
            </a:r>
          </a:p>
          <a:p>
            <a:r>
              <a:rPr lang="en-US" sz="1800" dirty="0">
                <a:solidFill>
                  <a:srgbClr val="000000"/>
                </a:solidFill>
                <a:latin typeface="Open Sans" pitchFamily="2" charset="0"/>
              </a:rPr>
              <a:t>Let’s discover the Amy io range.</a:t>
            </a:r>
            <a:endParaRPr lang="en-US" sz="1800" dirty="0">
              <a:solidFill>
                <a:prstClr val="black"/>
              </a:solidFill>
              <a:latin typeface="Microsoft Sans Serif" panose="020B0604020202020204" pitchFamily="34" charset="0"/>
            </a:endParaRP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23D62F-7CA3-B74D-B033-82529AB9C0F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89528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23D62F-7CA3-B74D-B033-82529AB9C0F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94984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Relationship Id="rId4" Type="http://schemas.openxmlformats.org/officeDocument/2006/relationships/image" Target="../media/image3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3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rgbClr val="25485A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2142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5277531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9342762-9DB2-0BB3-8BF7-2B308D83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5EEBB565-0D5F-A163-B519-39BD3169B0E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73999" y="2240895"/>
            <a:ext cx="5277531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172554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985156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682775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r>
              <a:rPr lang="fr-FR"/>
              <a:t>Somfy Smart Shading off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0037542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Lef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331763" y="1635569"/>
            <a:ext cx="5903912" cy="4073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0" i="0"/>
            </a:lvl1pPr>
          </a:lstStyle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320136" y="2241096"/>
            <a:ext cx="4189418" cy="30777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400" b="0" i="0" smtClean="0">
                <a:solidFill>
                  <a:schemeClr val="tx1"/>
                </a:solidFill>
                <a:latin typeface="Somfy Sans Light" pitchFamily="2" charset="0"/>
                <a:ea typeface="+mn-ea"/>
                <a:cs typeface="+mn-cs"/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just">
              <a:spcBef>
                <a:spcPts val="1200"/>
              </a:spcBef>
            </a:pPr>
            <a:r>
              <a:rPr lang="en-US"/>
              <a:t>Your description he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320136" y="1631933"/>
            <a:ext cx="4189417" cy="523220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marL="0" indent="0">
              <a:buNone/>
              <a:defRPr lang="en-US" sz="2800" b="0" i="0">
                <a:solidFill>
                  <a:schemeClr val="tx2"/>
                </a:solidFill>
                <a:latin typeface="Somfy Sans" pitchFamily="2" charset="0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Your title here</a:t>
            </a:r>
          </a:p>
        </p:txBody>
      </p:sp>
      <p:pic>
        <p:nvPicPr>
          <p:cNvPr id="15" name="Image 14" descr="Une image contenant dessin&#10;&#10;Description générée automatiquement">
            <a:extLst>
              <a:ext uri="{FF2B5EF4-FFF2-40B4-BE49-F238E27FC236}">
                <a16:creationId xmlns:a16="http://schemas.microsoft.com/office/drawing/2014/main" id="{285CCC1D-1982-274D-BB12-55F2BF3403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62626741-9D1E-3E4D-8417-9E6B48031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r>
              <a:rPr lang="fr-FR"/>
              <a:t>Somfy Smart Shading offer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AB78EB9-7E9A-2241-B5FA-F96DFEEA45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42F3494-024F-E54F-AC81-CD9D613EF1E2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407174D8-6145-2C4E-B5F7-77AF252CB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BDA64B4C-C1DB-C94D-A98F-3936F7A8B93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3126768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2700203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185841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 dirty="0"/>
              <a:t>01 Titre </a:t>
            </a:r>
            <a:br>
              <a:rPr lang="fr-FR" dirty="0"/>
            </a:br>
            <a:r>
              <a:rPr lang="fr-FR" dirty="0"/>
              <a:t>du chapitre</a:t>
            </a:r>
            <a:endParaRPr lang="en-GB" dirty="0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5890380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 dirty="0"/>
              <a:t>Chapitre</a:t>
            </a:r>
            <a:endParaRPr lang="en-GB" dirty="0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  <a:endParaRPr lang="en-GB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01</a:t>
            </a:r>
            <a:endParaRPr lang="en-GB" dirty="0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665718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 dirty="0"/>
              <a:t>01 Titre </a:t>
            </a:r>
            <a:br>
              <a:rPr lang="fr-FR" dirty="0"/>
            </a:br>
            <a:r>
              <a:rPr lang="fr-FR" dirty="0"/>
              <a:t>du chapitre</a:t>
            </a:r>
            <a:endParaRPr lang="en-GB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531597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 dirty="0"/>
              <a:t>01 Titre du chapitre</a:t>
            </a:r>
            <a:endParaRPr lang="en-GB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52902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1126798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1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9342762-9DB2-0BB3-8BF7-2B308D83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96346356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 dirty="0"/>
              <a:t>01 Titre </a:t>
            </a:r>
            <a:br>
              <a:rPr lang="fr-FR" dirty="0"/>
            </a:br>
            <a:r>
              <a:rPr lang="fr-FR" dirty="0"/>
              <a:t>du chapitre</a:t>
            </a:r>
            <a:endParaRPr lang="en-GB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6312441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 dirty="0"/>
              <a:t>01 Titre </a:t>
            </a:r>
            <a:br>
              <a:rPr lang="fr-FR" dirty="0"/>
            </a:br>
            <a:r>
              <a:rPr lang="fr-FR" dirty="0"/>
              <a:t>du chapitre</a:t>
            </a:r>
            <a:endParaRPr lang="en-GB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3728168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 dirty="0"/>
              <a:t>01 Titre </a:t>
            </a:r>
            <a:br>
              <a:rPr lang="fr-FR" dirty="0"/>
            </a:br>
            <a:r>
              <a:rPr lang="fr-FR" dirty="0"/>
              <a:t>du chapitre</a:t>
            </a:r>
            <a:endParaRPr lang="en-GB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291469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 dirty="0"/>
              <a:t>01 Titre </a:t>
            </a:r>
            <a:br>
              <a:rPr lang="fr-FR" dirty="0"/>
            </a:br>
            <a:r>
              <a:rPr lang="fr-FR" dirty="0"/>
              <a:t>du chapitre</a:t>
            </a:r>
            <a:endParaRPr lang="en-GB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916916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 dirty="0"/>
              <a:t>01 Titre </a:t>
            </a:r>
            <a:br>
              <a:rPr lang="fr-FR" dirty="0"/>
            </a:br>
            <a:r>
              <a:rPr lang="fr-FR" dirty="0"/>
              <a:t>du chapitre</a:t>
            </a:r>
            <a:endParaRPr lang="en-GB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736921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Sommaire</a:t>
            </a:r>
            <a:endParaRPr lang="en-GB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Sous-titre</a:t>
            </a:r>
            <a:endParaRPr lang="en-GB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Sous-titre</a:t>
            </a:r>
            <a:endParaRPr lang="en-GB" dirty="0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Sous-titre</a:t>
            </a:r>
            <a:endParaRPr lang="en-GB" dirty="0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Sous-titre</a:t>
            </a:r>
            <a:endParaRPr lang="en-GB" dirty="0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Sous-titre</a:t>
            </a:r>
            <a:endParaRPr lang="en-GB" dirty="0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Sous-titre</a:t>
            </a:r>
            <a:endParaRPr lang="en-GB" dirty="0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Sous-titre</a:t>
            </a:r>
            <a:endParaRPr lang="en-GB" dirty="0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Sous-titre</a:t>
            </a:r>
            <a:endParaRPr lang="en-GB" dirty="0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Sous-titre</a:t>
            </a:r>
            <a:endParaRPr lang="en-GB" dirty="0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Sous-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315443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092256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189350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543768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7572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E68ACBD4-483B-BDB9-8E53-C17EF5B552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5545" y="2426677"/>
            <a:ext cx="3262313" cy="3772511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25485A"/>
                </a:solidFill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9E969D69-B45D-F96D-5E11-A35E374DEC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5545" y="792291"/>
            <a:ext cx="2936482" cy="973879"/>
          </a:xfrm>
        </p:spPr>
        <p:txBody>
          <a:bodyPr bIns="108000">
            <a:noAutofit/>
          </a:bodyPr>
          <a:lstStyle>
            <a:lvl1pPr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Modifiez le style du </a:t>
            </a:r>
            <a:r>
              <a:rPr lang="fr-FR" err="1"/>
              <a:t>tit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747680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2989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74736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07086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dirty="0" err="1"/>
              <a:t>Picto</a:t>
            </a:r>
            <a:endParaRPr lang="en-GB" dirty="0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dirty="0" err="1"/>
              <a:t>Picto</a:t>
            </a:r>
            <a:endParaRPr lang="en-GB" dirty="0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dirty="0" err="1"/>
              <a:t>Picto</a:t>
            </a:r>
            <a:endParaRPr lang="en-GB" dirty="0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67889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413815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04345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988321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erc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12303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506219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397482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0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FCCA95E-564E-74A8-78B0-C11C5C7887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9954" y="2240895"/>
            <a:ext cx="3263152" cy="3740357"/>
          </a:xfrm>
        </p:spPr>
        <p:txBody>
          <a:bodyPr>
            <a:normAutofit/>
          </a:bodyPr>
          <a:lstStyle>
            <a:lvl1pPr>
              <a:defRPr sz="32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FE2320D-21F5-02F6-4F6A-B59B9172F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135646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3192" y="6360296"/>
            <a:ext cx="39205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3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rgbClr val="25485A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rgbClr val="25485A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rgbClr val="25485A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3889A12-6904-A817-264C-3F055299B3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576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C954B6BB-57EA-C495-6B5D-EF46295EF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167463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8567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>
            <a:solidFill>
              <a:schemeClr val="accent2"/>
            </a:solidFill>
          </a:ln>
        </p:spPr>
        <p:txBody>
          <a:bodyPr vert="horz" tIns="72000" bIns="72000">
            <a:normAutofit/>
          </a:bodyPr>
          <a:lstStyle>
            <a:lvl1pPr algn="ctr">
              <a:defRPr sz="32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 err="1"/>
              <a:t>Thank</a:t>
            </a:r>
            <a:r>
              <a:rPr lang="fr-FR"/>
              <a:t> </a:t>
            </a:r>
            <a:r>
              <a:rPr lang="fr-FR" err="1"/>
              <a:t>yo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07760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6" name="ZoneTexte 5"/>
          <p:cNvSpPr txBox="1"/>
          <p:nvPr userDrawn="1"/>
        </p:nvSpPr>
        <p:spPr>
          <a:xfrm>
            <a:off x="53597" y="312719"/>
            <a:ext cx="312160" cy="410433"/>
          </a:xfrm>
          <a:prstGeom prst="rect">
            <a:avLst/>
          </a:prstGeom>
          <a:noFill/>
        </p:spPr>
        <p:txBody>
          <a:bodyPr wrap="square" tIns="0" rIns="0" bIns="0" rtlCol="0" anchor="t" anchorCtr="0">
            <a:spAutoFit/>
          </a:bodyPr>
          <a:lstStyle/>
          <a:p>
            <a:pPr algn="r"/>
            <a:r>
              <a:rPr lang="fr-FR" sz="2667" b="1">
                <a:solidFill>
                  <a:srgbClr val="E95D0F"/>
                </a:solidFill>
              </a:rPr>
              <a:t>/</a:t>
            </a:r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486834" y="988485"/>
            <a:ext cx="10104967" cy="386122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8" y="5963258"/>
            <a:ext cx="12191999" cy="891525"/>
          </a:xfrm>
          <a:prstGeom prst="rect">
            <a:avLst/>
          </a:prstGeom>
        </p:spPr>
      </p:pic>
      <p:sp>
        <p:nvSpPr>
          <p:cNvPr id="1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96051" y="6503533"/>
            <a:ext cx="3860800" cy="2108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467" cap="all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U DOCUMENT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265920" y="6503533"/>
            <a:ext cx="636693" cy="2108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 b="1" cap="all">
                <a:solidFill>
                  <a:srgbClr val="E95D0F"/>
                </a:solidFill>
              </a:defRPr>
            </a:lvl1pPr>
          </a:lstStyle>
          <a:p>
            <a:fld id="{26B38A90-316F-AB4B-99AE-08E46F8057ED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3" name="Espace réservé de la date 6"/>
          <p:cNvSpPr>
            <a:spLocks noGrp="1"/>
          </p:cNvSpPr>
          <p:nvPr>
            <p:ph type="dt" sz="half" idx="2"/>
          </p:nvPr>
        </p:nvSpPr>
        <p:spPr>
          <a:xfrm>
            <a:off x="5283200" y="6503532"/>
            <a:ext cx="2844800" cy="250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67">
                <a:solidFill>
                  <a:srgbClr val="001C4B"/>
                </a:solidFill>
              </a:defRPr>
            </a:lvl1pPr>
          </a:lstStyle>
          <a:p>
            <a:fld id="{D22DAFA5-4332-564B-9A5F-8B63C19E24E3}" type="datetimeFigureOut">
              <a:rPr lang="fr-FR" smtClean="0"/>
              <a:pPr/>
              <a:t>25/09/20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63340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5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5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1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>
                <a:solidFill>
                  <a:srgbClr val="FFC000"/>
                </a:solidFill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/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1">
                <a:solidFill>
                  <a:srgbClr val="FFC000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6167508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suel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5342" y="1320582"/>
            <a:ext cx="5507189" cy="23294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6275342" y="2709237"/>
            <a:ext cx="5507191" cy="107721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pour une image  14"/>
          <p:cNvSpPr>
            <a:spLocks noGrp="1"/>
          </p:cNvSpPr>
          <p:nvPr>
            <p:ph type="pic" sz="quarter" idx="11"/>
          </p:nvPr>
        </p:nvSpPr>
        <p:spPr>
          <a:xfrm>
            <a:off x="409468" y="1053287"/>
            <a:ext cx="5470576" cy="5398408"/>
          </a:xfrm>
        </p:spPr>
        <p:txBody>
          <a:bodyPr wrap="none" anchor="ctr">
            <a:noAutofit/>
          </a:bodyPr>
          <a:lstStyle>
            <a:lvl1pPr algn="ctr">
              <a:defRPr sz="1600" b="0" i="0" cap="none" baseline="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98651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rgbClr val="25485A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6443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fr-FR"/>
              <a:t>CLIQUEZ ET MODIFIEZ LE TITRE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677D4868-0BF2-4E52-AA8E-B884136988A5}"/>
              </a:ext>
            </a:extLst>
          </p:cNvPr>
          <p:cNvCxnSpPr/>
          <p:nvPr userDrawn="1"/>
        </p:nvCxnSpPr>
        <p:spPr>
          <a:xfrm flipH="1">
            <a:off x="0" y="932723"/>
            <a:ext cx="2063552" cy="0"/>
          </a:xfrm>
          <a:prstGeom prst="line">
            <a:avLst/>
          </a:prstGeom>
          <a:ln w="38100">
            <a:solidFill>
              <a:srgbClr val="485B7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C6551A9-63F0-4505-80AC-A03A0A65A1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62726" y="725335"/>
            <a:ext cx="4705349" cy="207388"/>
          </a:xfrm>
        </p:spPr>
        <p:txBody>
          <a:bodyPr>
            <a:noAutofit/>
          </a:bodyPr>
          <a:lstStyle>
            <a:lvl1pPr marL="0" indent="0">
              <a:buNone/>
              <a:defRPr sz="1867">
                <a:solidFill>
                  <a:schemeClr val="tx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59406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4746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22119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6762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03858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07374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60503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99590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82964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46701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25485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892EE5D-29F1-B631-BDCF-F8C06D229876}"/>
              </a:ext>
            </a:extLst>
          </p:cNvPr>
          <p:cNvSpPr txBox="1">
            <a:spLocks/>
          </p:cNvSpPr>
          <p:nvPr userDrawn="1"/>
        </p:nvSpPr>
        <p:spPr>
          <a:xfrm rot="5400000">
            <a:off x="1636496" y="1102178"/>
            <a:ext cx="1263421" cy="4653643"/>
          </a:xfrm>
          <a:prstGeom prst="round2SameRect">
            <a:avLst>
              <a:gd name="adj1" fmla="val 50000"/>
              <a:gd name="adj2" fmla="val 0"/>
            </a:avLst>
          </a:prstGeom>
          <a:noFill/>
          <a:ln w="28575">
            <a:solidFill>
              <a:schemeClr val="accent2"/>
            </a:solidFill>
          </a:ln>
        </p:spPr>
        <p:txBody>
          <a:bodyPr vert="horz" lIns="91440" tIns="432000" rIns="91440" bIns="72000" rtlCol="0" anchor="ctr">
            <a:norm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Somfy Sans Light" pitchFamily="2" charset="0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7DA399D-45B0-0CEA-A573-3E1B1AAC81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92098"/>
            <a:ext cx="4196444" cy="1263422"/>
          </a:xfrm>
        </p:spPr>
        <p:txBody>
          <a:bodyPr>
            <a:normAutofit/>
          </a:bodyPr>
          <a:lstStyle>
            <a:lvl1pPr>
              <a:defRPr sz="3600">
                <a:solidFill>
                  <a:srgbClr val="25485A"/>
                </a:solidFill>
              </a:defRPr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0BA31B-3600-CA67-63C4-4112FC284698}"/>
              </a:ext>
            </a:extLst>
          </p:cNvPr>
          <p:cNvSpPr/>
          <p:nvPr userDrawn="1"/>
        </p:nvSpPr>
        <p:spPr>
          <a:xfrm>
            <a:off x="-182880" y="2463501"/>
            <a:ext cx="182880" cy="1813797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9630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57840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3915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64212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85962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5278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5169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9275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0512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3259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134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Pictur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13541" y="3939426"/>
            <a:ext cx="4318489" cy="1367360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E92C6ACC-ECE3-BC92-9E91-A4B8D05D6E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13542" y="2315255"/>
            <a:ext cx="4318489" cy="1653430"/>
          </a:xfrm>
        </p:spPr>
        <p:txBody>
          <a:bodyPr anchor="b">
            <a:normAutofit/>
          </a:bodyPr>
          <a:lstStyle>
            <a:lvl1pPr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01 titre du chapitre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D0A4EB0-799A-4E7A-050B-C9A4C60A38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4882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651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73431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46337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09546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16200000" flipH="1">
            <a:off x="4323721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684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5400000">
            <a:off x="5616997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823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62947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06838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:a16="http://schemas.microsoft.com/office/drawing/2014/main" id="{DD459A1F-D918-964D-A3BD-F7C2C516A1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024C451-6E79-5244-B00D-81BE5A10D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endParaRPr lang="fr-F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C004205-B1EA-384E-979B-2FD40D4D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02C962-26B5-D149-9D70-F691507E255A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11D51AE7-5366-3643-9BEE-452617286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FD5D06D-88CA-D342-8CAC-27ADB35435D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34374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Lef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331763" y="1635569"/>
            <a:ext cx="5903912" cy="4073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0" i="0"/>
            </a:lvl1pPr>
          </a:lstStyle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320136" y="2241096"/>
            <a:ext cx="4189418" cy="30777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lang="en-US" sz="1400" b="0" i="0" smtClean="0">
                <a:solidFill>
                  <a:schemeClr val="tx1"/>
                </a:solidFill>
                <a:latin typeface="Somfy Sans Light" pitchFamily="2" charset="0"/>
                <a:ea typeface="+mn-ea"/>
                <a:cs typeface="+mn-cs"/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just">
              <a:spcBef>
                <a:spcPts val="1200"/>
              </a:spcBef>
            </a:pPr>
            <a:r>
              <a:rPr lang="en-US"/>
              <a:t>Your description he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320136" y="1631933"/>
            <a:ext cx="4189417" cy="523220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marL="0" indent="0">
              <a:buNone/>
              <a:defRPr lang="en-US" sz="2800" b="0" i="0">
                <a:solidFill>
                  <a:schemeClr val="tx2"/>
                </a:solidFill>
                <a:latin typeface="Somfy Sans" pitchFamily="2" charset="0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Your title here</a:t>
            </a:r>
          </a:p>
        </p:txBody>
      </p:sp>
      <p:pic>
        <p:nvPicPr>
          <p:cNvPr id="15" name="Image 14" descr="Une image contenant dessin&#10;&#10;Description générée automatiquement">
            <a:extLst>
              <a:ext uri="{FF2B5EF4-FFF2-40B4-BE49-F238E27FC236}">
                <a16:creationId xmlns:a16="http://schemas.microsoft.com/office/drawing/2014/main" id="{285CCC1D-1982-274D-BB12-55F2BF3403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75632"/>
            <a:ext cx="1073820" cy="375648"/>
          </a:xfrm>
          <a:prstGeom prst="rect">
            <a:avLst/>
          </a:prstGeom>
        </p:spPr>
      </p:pic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62626741-9D1E-3E4D-8417-9E6B48031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392" y="63813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endParaRPr lang="fr-FR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AB78EB9-7E9A-2241-B5FA-F96DFEEA45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3" y="6381328"/>
            <a:ext cx="439241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2"/>
                </a:solidFill>
                <a:latin typeface="Somfy Sans" pitchFamily="2" charset="0"/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42F3494-024F-E54F-AC81-CD9D613EF1E2}"/>
              </a:ext>
            </a:extLst>
          </p:cNvPr>
          <p:cNvSpPr txBox="1"/>
          <p:nvPr userDrawn="1"/>
        </p:nvSpPr>
        <p:spPr>
          <a:xfrm>
            <a:off x="533400" y="6440780"/>
            <a:ext cx="76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0" i="0">
                <a:solidFill>
                  <a:srgbClr val="FFC000"/>
                </a:solidFill>
                <a:latin typeface="Somfy Sans" pitchFamily="2" charset="0"/>
              </a:rPr>
              <a:t>I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407174D8-6145-2C4E-B5F7-77AF252CB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67286"/>
            <a:ext cx="10310936" cy="6309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omfy Sans" pitchFamily="2" charset="0"/>
              </a:defRPr>
            </a:lvl1pPr>
          </a:lstStyle>
          <a:p>
            <a:r>
              <a:rPr lang="fr-FR" err="1"/>
              <a:t>Title</a:t>
            </a:r>
            <a:endParaRPr lang="fr-FR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BDA64B4C-C1DB-C94D-A98F-3936F7A8B93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35360" y="630851"/>
            <a:ext cx="10310936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0" i="0">
                <a:solidFill>
                  <a:srgbClr val="FFC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12933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pter - Pictur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2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F28C8E5-56A6-2BC8-0A20-FBF9A15386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9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39305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765406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19425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09112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932327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34805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647231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05696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83607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45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34332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pter - Picture -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3600" y="0"/>
            <a:ext cx="5267547" cy="6145178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8D9820A8-328A-6189-8EDD-CE60516090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9987" y="1505133"/>
            <a:ext cx="45670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6" name="Sous-titre 2">
            <a:extLst>
              <a:ext uri="{FF2B5EF4-FFF2-40B4-BE49-F238E27FC236}">
                <a16:creationId xmlns:a16="http://schemas.microsoft.com/office/drawing/2014/main" id="{93198A0B-FC30-5C11-2D1A-22B4CB7057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59988" y="3660655"/>
            <a:ext cx="456705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34352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08986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0027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0066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61526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50146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974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54653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95394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8153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982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Neutral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7CD3411-2B7B-4281-7C8D-241760473C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9134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030559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91037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70001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se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65A855C-7B5F-B724-2CFF-9DAE4618E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2230" y="5907606"/>
            <a:ext cx="1167540" cy="305474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D7A9C26E-9B63-CA17-BC4B-0C1A07859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9224" y="2959490"/>
            <a:ext cx="2653552" cy="939020"/>
          </a:xfrm>
          <a:prstGeom prst="round2SameRect">
            <a:avLst>
              <a:gd name="adj1" fmla="val 50000"/>
              <a:gd name="adj2" fmla="val 50000"/>
            </a:avLst>
          </a:prstGeom>
          <a:ln w="28575"/>
        </p:spPr>
        <p:txBody>
          <a:bodyPr vert="horz" tIns="72000" bIns="72000">
            <a:normAutofit/>
          </a:bodyPr>
          <a:lstStyle>
            <a:lvl1pPr algn="ct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Merc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655339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29029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DE369-B809-0CBB-5B60-A7547B08F3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lnSpc>
                <a:spcPct val="90000"/>
              </a:lnSpc>
              <a:defRPr sz="44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AAD364A-47A1-CDD7-1577-68A6D6856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88016"/>
            <a:ext cx="9144000" cy="780456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F5A8C2-FA21-B5B7-3F72-D7BFB7E4C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8738" y="5787025"/>
            <a:ext cx="1714522" cy="548461"/>
          </a:xfrm>
          <a:prstGeom prst="roundRect">
            <a:avLst>
              <a:gd name="adj" fmla="val 50000"/>
            </a:avLst>
          </a:prstGeom>
          <a:ln w="19050">
            <a:solidFill>
              <a:schemeClr val="accent2"/>
            </a:solidFill>
          </a:ln>
        </p:spPr>
        <p:txBody>
          <a:bodyPr anchor="ctr"/>
          <a:lstStyle>
            <a:lvl1pPr algn="ctr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CD4729C-2FE4-A0AD-5186-E74DC4E69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2434" y="730152"/>
            <a:ext cx="1147131" cy="30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11019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394" y="2315255"/>
            <a:ext cx="2911236" cy="2227490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l">
              <a:defRPr sz="2800" b="0" i="0">
                <a:solidFill>
                  <a:schemeClr val="bg1"/>
                </a:solidFill>
                <a:latin typeface="Somfy Sans Light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FE53A088-C685-698B-9C8F-EB253F9EA6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3073" y="0"/>
            <a:ext cx="9548927" cy="6858000"/>
          </a:xfrm>
          <a:custGeom>
            <a:avLst/>
            <a:gdLst>
              <a:gd name="connsiteX0" fmla="*/ 0 w 9548927"/>
              <a:gd name="connsiteY0" fmla="*/ 0 h 6858000"/>
              <a:gd name="connsiteX1" fmla="*/ 9548927 w 9548927"/>
              <a:gd name="connsiteY1" fmla="*/ 0 h 6858000"/>
              <a:gd name="connsiteX2" fmla="*/ 9548927 w 9548927"/>
              <a:gd name="connsiteY2" fmla="*/ 6858000 h 6858000"/>
              <a:gd name="connsiteX3" fmla="*/ 0 w 9548927"/>
              <a:gd name="connsiteY3" fmla="*/ 6858000 h 6858000"/>
              <a:gd name="connsiteX4" fmla="*/ 79067 w 9548927"/>
              <a:gd name="connsiteY4" fmla="*/ 6786139 h 6858000"/>
              <a:gd name="connsiteX5" fmla="*/ 938327 w 9548927"/>
              <a:gd name="connsiteY5" fmla="*/ 4711700 h 6858000"/>
              <a:gd name="connsiteX6" fmla="*/ 938327 w 9548927"/>
              <a:gd name="connsiteY6" fmla="*/ 2146300 h 6858000"/>
              <a:gd name="connsiteX7" fmla="*/ 79067 w 9548927"/>
              <a:gd name="connsiteY7" fmla="*/ 718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48927" h="6858000">
                <a:moveTo>
                  <a:pt x="0" y="0"/>
                </a:moveTo>
                <a:lnTo>
                  <a:pt x="9548927" y="0"/>
                </a:lnTo>
                <a:lnTo>
                  <a:pt x="9548927" y="6858000"/>
                </a:lnTo>
                <a:lnTo>
                  <a:pt x="0" y="6858000"/>
                </a:lnTo>
                <a:lnTo>
                  <a:pt x="79067" y="6786139"/>
                </a:lnTo>
                <a:cubicBezTo>
                  <a:pt x="609962" y="6255244"/>
                  <a:pt x="938327" y="5521819"/>
                  <a:pt x="938327" y="4711700"/>
                </a:cubicBezTo>
                <a:lnTo>
                  <a:pt x="938327" y="2146300"/>
                </a:lnTo>
                <a:cubicBezTo>
                  <a:pt x="938327" y="1336181"/>
                  <a:pt x="609962" y="602756"/>
                  <a:pt x="79067" y="7186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F5A0458B-D994-457A-ACFB-C349E4723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68" y="731305"/>
            <a:ext cx="1147131" cy="300136"/>
          </a:xfrm>
          <a:prstGeom prst="rect">
            <a:avLst/>
          </a:prstGeom>
        </p:spPr>
      </p:pic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E1EF8DF-996F-8F9B-00FD-8AF399F4D5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393" y="5787025"/>
            <a:ext cx="1714522" cy="54846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l">
              <a:defRPr sz="1400" b="0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728185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1" y="2315255"/>
            <a:ext cx="3213287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24" name="Espace réservé pour une image  23">
            <a:extLst>
              <a:ext uri="{FF2B5EF4-FFF2-40B4-BE49-F238E27FC236}">
                <a16:creationId xmlns:a16="http://schemas.microsoft.com/office/drawing/2014/main" id="{34385CDF-2C47-C486-D02D-7871C97EDC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25" name="Sous-titre 2">
            <a:extLst>
              <a:ext uri="{FF2B5EF4-FFF2-40B4-BE49-F238E27FC236}">
                <a16:creationId xmlns:a16="http://schemas.microsoft.com/office/drawing/2014/main" id="{8E1BF216-F2B8-070D-7B30-BA9C864B9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879A9E24-52DC-AD25-9A3C-D1A983D6C8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7" name="Espace réservé du numéro de diapositive 5">
            <a:extLst>
              <a:ext uri="{FF2B5EF4-FFF2-40B4-BE49-F238E27FC236}">
                <a16:creationId xmlns:a16="http://schemas.microsoft.com/office/drawing/2014/main" id="{96083338-D259-6F17-D03F-915609FDC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66340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169" y="1336431"/>
            <a:ext cx="11359661" cy="4185138"/>
          </a:xfrm>
          <a:prstGeom prst="rect">
            <a:avLst/>
          </a:prstGeom>
          <a:ln>
            <a:noFill/>
          </a:ln>
        </p:spPr>
        <p:txBody>
          <a:bodyPr vert="horz" bIns="46800" anchor="ctr">
            <a:normAutofit/>
          </a:bodyPr>
          <a:lstStyle>
            <a:lvl1pPr algn="ctr">
              <a:defRPr sz="23000" b="1" i="0">
                <a:solidFill>
                  <a:schemeClr val="accent2"/>
                </a:solidFill>
                <a:latin typeface="Somfy Sans" pitchFamily="2" charset="0"/>
              </a:defRPr>
            </a:lvl1pPr>
          </a:lstStyle>
          <a:p>
            <a:r>
              <a:rPr lang="fr-FR"/>
              <a:t>Chapitre</a:t>
            </a:r>
            <a:endParaRPr lang="en-GB"/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F69F196-5ED5-D392-C81B-C0A0A0469E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3718" y="536820"/>
            <a:ext cx="2502877" cy="1343163"/>
          </a:xfrm>
        </p:spPr>
        <p:txBody>
          <a:bodyPr anchor="ctr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6102D1-AA91-8F4F-D7A4-4AD9A0E9D6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12628" y="3780692"/>
            <a:ext cx="4865199" cy="3077308"/>
          </a:xfrm>
        </p:spPr>
        <p:txBody>
          <a:bodyPr anchor="b">
            <a:noAutofit/>
          </a:bodyPr>
          <a:lstStyle>
            <a:lvl1pPr algn="r">
              <a:defRPr sz="24000" b="1" i="0">
                <a:ln>
                  <a:solidFill>
                    <a:schemeClr val="bg1"/>
                  </a:solidFill>
                </a:ln>
                <a:noFill/>
                <a:latin typeface="Somfy Sans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01</a:t>
            </a:r>
            <a:endParaRPr lang="en-GB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830B4683-EC15-CEE9-D169-97CBF46A5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25530AAE-B0DC-0415-EC10-0FD05B47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93861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8742" y="2315255"/>
            <a:ext cx="321328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0" name="Forme libre 9">
            <a:extLst>
              <a:ext uri="{FF2B5EF4-FFF2-40B4-BE49-F238E27FC236}">
                <a16:creationId xmlns:a16="http://schemas.microsoft.com/office/drawing/2014/main" id="{BCFDDDBD-A5EF-27E9-0158-06EF3714BFA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59721 w 6096000"/>
              <a:gd name="connsiteY1" fmla="*/ 0 h 6858000"/>
              <a:gd name="connsiteX2" fmla="*/ 5666315 w 6096000"/>
              <a:gd name="connsiteY2" fmla="*/ 175459 h 6858000"/>
              <a:gd name="connsiteX3" fmla="*/ 6096000 w 6096000"/>
              <a:gd name="connsiteY3" fmla="*/ 1872417 h 6858000"/>
              <a:gd name="connsiteX4" fmla="*/ 6096000 w 6096000"/>
              <a:gd name="connsiteY4" fmla="*/ 4985583 h 6858000"/>
              <a:gd name="connsiteX5" fmla="*/ 5666315 w 6096000"/>
              <a:gd name="connsiteY5" fmla="*/ 6682542 h 6858000"/>
              <a:gd name="connsiteX6" fmla="*/ 5559721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59721" y="0"/>
                </a:lnTo>
                <a:lnTo>
                  <a:pt x="5666315" y="175459"/>
                </a:lnTo>
                <a:cubicBezTo>
                  <a:pt x="5940345" y="679902"/>
                  <a:pt x="6096000" y="1257982"/>
                  <a:pt x="6096000" y="1872417"/>
                </a:cubicBezTo>
                <a:lnTo>
                  <a:pt x="6096000" y="4985583"/>
                </a:lnTo>
                <a:cubicBezTo>
                  <a:pt x="6096000" y="5600019"/>
                  <a:pt x="5940345" y="6178098"/>
                  <a:pt x="5666315" y="6682542"/>
                </a:cubicBezTo>
                <a:lnTo>
                  <a:pt x="55597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185F905-2A46-DA18-0D72-0DAE780035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8742" y="3939426"/>
            <a:ext cx="321328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221F716-E76D-A397-DFED-B644677D8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6603D368-D5F7-C70B-7A53-B9D82579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77658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pter - Neutral- Option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 : avec coins arrondis en haut 3">
            <a:extLst>
              <a:ext uri="{FF2B5EF4-FFF2-40B4-BE49-F238E27FC236}">
                <a16:creationId xmlns:a16="http://schemas.microsoft.com/office/drawing/2014/main" id="{08DA85AC-905A-9833-5330-89EE1361A228}"/>
              </a:ext>
            </a:extLst>
          </p:cNvPr>
          <p:cNvSpPr/>
          <p:nvPr userDrawn="1"/>
        </p:nvSpPr>
        <p:spPr>
          <a:xfrm>
            <a:off x="543599" y="0"/>
            <a:ext cx="5267547" cy="614195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585" y="1470375"/>
            <a:ext cx="4556643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0586" y="3625896"/>
            <a:ext cx="4556642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rgbClr val="25485A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440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4800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737448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184" y="3428999"/>
            <a:ext cx="7792416" cy="961059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du chap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8372F5-0ED4-4455-EB3C-BCA07A5C78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184" y="4390059"/>
            <a:ext cx="779241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22" name="Forme libre 21">
            <a:extLst>
              <a:ext uri="{FF2B5EF4-FFF2-40B4-BE49-F238E27FC236}">
                <a16:creationId xmlns:a16="http://schemas.microsoft.com/office/drawing/2014/main" id="{A1D1098E-4556-0B2C-FAB3-29E4B5984BE0}"/>
              </a:ext>
            </a:extLst>
          </p:cNvPr>
          <p:cNvSpPr/>
          <p:nvPr userDrawn="1"/>
        </p:nvSpPr>
        <p:spPr>
          <a:xfrm rot="5400000">
            <a:off x="4381500" y="-4381500"/>
            <a:ext cx="3429000" cy="12192000"/>
          </a:xfrm>
          <a:custGeom>
            <a:avLst/>
            <a:gdLst>
              <a:gd name="connsiteX0" fmla="*/ 0 w 3429000"/>
              <a:gd name="connsiteY0" fmla="*/ 12192000 h 12192000"/>
              <a:gd name="connsiteX1" fmla="*/ 0 w 3429000"/>
              <a:gd name="connsiteY1" fmla="*/ 0 h 12192000"/>
              <a:gd name="connsiteX2" fmla="*/ 2557464 w 3429000"/>
              <a:gd name="connsiteY2" fmla="*/ 0 h 12192000"/>
              <a:gd name="connsiteX3" fmla="*/ 2667124 w 3429000"/>
              <a:gd name="connsiteY3" fmla="*/ 144828 h 12192000"/>
              <a:gd name="connsiteX4" fmla="*/ 3429000 w 3429000"/>
              <a:gd name="connsiteY4" fmla="*/ 2586181 h 12192000"/>
              <a:gd name="connsiteX5" fmla="*/ 3429000 w 3429000"/>
              <a:gd name="connsiteY5" fmla="*/ 9605822 h 12192000"/>
              <a:gd name="connsiteX6" fmla="*/ 2667124 w 3429000"/>
              <a:gd name="connsiteY6" fmla="*/ 12047174 h 12192000"/>
              <a:gd name="connsiteX7" fmla="*/ 2557465 w 3429000"/>
              <a:gd name="connsiteY7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9000" h="12192000">
                <a:moveTo>
                  <a:pt x="0" y="12192000"/>
                </a:moveTo>
                <a:lnTo>
                  <a:pt x="0" y="0"/>
                </a:lnTo>
                <a:lnTo>
                  <a:pt x="2557464" y="0"/>
                </a:lnTo>
                <a:lnTo>
                  <a:pt x="2667124" y="144828"/>
                </a:lnTo>
                <a:cubicBezTo>
                  <a:pt x="3147512" y="837808"/>
                  <a:pt x="3429000" y="1679122"/>
                  <a:pt x="3429000" y="2586181"/>
                </a:cubicBezTo>
                <a:lnTo>
                  <a:pt x="3429000" y="9605822"/>
                </a:lnTo>
                <a:cubicBezTo>
                  <a:pt x="3429000" y="10512881"/>
                  <a:pt x="3147512" y="11354195"/>
                  <a:pt x="2667124" y="12047174"/>
                </a:cubicBezTo>
                <a:lnTo>
                  <a:pt x="2557465" y="1219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F5DB1B5-C789-AE52-661D-C028493A9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4" name="Espace réservé du numéro de diapositive 5">
            <a:extLst>
              <a:ext uri="{FF2B5EF4-FFF2-40B4-BE49-F238E27FC236}">
                <a16:creationId xmlns:a16="http://schemas.microsoft.com/office/drawing/2014/main" id="{8D7B533B-06A9-718B-E938-0FDFA1F88E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74309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avec coins arrondis en haut 4">
            <a:extLst>
              <a:ext uri="{FF2B5EF4-FFF2-40B4-BE49-F238E27FC236}">
                <a16:creationId xmlns:a16="http://schemas.microsoft.com/office/drawing/2014/main" id="{E3F4E120-F862-27AD-D4DE-61FB32408D6E}"/>
              </a:ext>
            </a:extLst>
          </p:cNvPr>
          <p:cNvSpPr/>
          <p:nvPr userDrawn="1"/>
        </p:nvSpPr>
        <p:spPr>
          <a:xfrm>
            <a:off x="1574800" y="0"/>
            <a:ext cx="4140200" cy="4267200"/>
          </a:xfrm>
          <a:prstGeom prst="round2SameRect">
            <a:avLst>
              <a:gd name="adj1" fmla="val 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3142" y="650241"/>
            <a:ext cx="303185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83142" y="2805762"/>
            <a:ext cx="2539098" cy="1181591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767A10A-4DE5-7D58-39A6-743B0623F2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C7B0491C-31AA-33A2-9559-2AF726BB5F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3581A5DD-1E78-5925-08DC-492D51A07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233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de secti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27CAEBC4-144B-E241-7C2F-ED9196235B61}"/>
              </a:ext>
            </a:extLst>
          </p:cNvPr>
          <p:cNvSpPr/>
          <p:nvPr userDrawn="1"/>
        </p:nvSpPr>
        <p:spPr>
          <a:xfrm rot="5400000">
            <a:off x="6070600" y="-645160"/>
            <a:ext cx="4094480" cy="8148320"/>
          </a:xfrm>
          <a:prstGeom prst="round2SameRect">
            <a:avLst>
              <a:gd name="adj1" fmla="val 0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8822" y="2010455"/>
            <a:ext cx="6682938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8822" y="3634626"/>
            <a:ext cx="6682938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BE70A30-AC3D-C21B-D5A3-E3AF81F0E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A418C663-5C06-BAA8-1ED3-F459AAE51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77E13569-47F7-A9EB-6548-583015548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610027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874" y="3637281"/>
            <a:ext cx="3392538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874" y="5792803"/>
            <a:ext cx="3392538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F30702F7-5443-FCAB-0F0C-889A80B7BA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625600"/>
            <a:ext cx="4803140" cy="5232400"/>
          </a:xfrm>
          <a:custGeom>
            <a:avLst/>
            <a:gdLst>
              <a:gd name="connsiteX0" fmla="*/ 2401570 w 4803140"/>
              <a:gd name="connsiteY0" fmla="*/ 0 h 5232400"/>
              <a:gd name="connsiteX1" fmla="*/ 4803140 w 4803140"/>
              <a:gd name="connsiteY1" fmla="*/ 2401570 h 5232400"/>
              <a:gd name="connsiteX2" fmla="*/ 4803140 w 4803140"/>
              <a:gd name="connsiteY2" fmla="*/ 5232400 h 5232400"/>
              <a:gd name="connsiteX3" fmla="*/ 0 w 4803140"/>
              <a:gd name="connsiteY3" fmla="*/ 5232400 h 5232400"/>
              <a:gd name="connsiteX4" fmla="*/ 0 w 4803140"/>
              <a:gd name="connsiteY4" fmla="*/ 2401570 h 5232400"/>
              <a:gd name="connsiteX5" fmla="*/ 2401570 w 4803140"/>
              <a:gd name="connsiteY5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3140" h="5232400">
                <a:moveTo>
                  <a:pt x="2401570" y="0"/>
                </a:moveTo>
                <a:cubicBezTo>
                  <a:pt x="3727920" y="0"/>
                  <a:pt x="4803140" y="1075220"/>
                  <a:pt x="4803140" y="2401570"/>
                </a:cubicBezTo>
                <a:lnTo>
                  <a:pt x="4803140" y="5232400"/>
                </a:lnTo>
                <a:lnTo>
                  <a:pt x="0" y="5232400"/>
                </a:lnTo>
                <a:lnTo>
                  <a:pt x="0" y="2401570"/>
                </a:lnTo>
                <a:cubicBezTo>
                  <a:pt x="0" y="1075220"/>
                  <a:pt x="1075220" y="0"/>
                  <a:pt x="24015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DC7CBAEF-A3CC-0809-62A7-999C8D0C1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46B59288-641E-BB0F-2D37-B1F48774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678467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758" y="1505133"/>
            <a:ext cx="2932147" cy="2155522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2758" y="3660655"/>
            <a:ext cx="2932147" cy="1065198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ABB1A5C2-CE8F-141E-482F-9D579C3422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54905" y="-1"/>
            <a:ext cx="6063916" cy="6219825"/>
          </a:xfrm>
          <a:custGeom>
            <a:avLst/>
            <a:gdLst>
              <a:gd name="connsiteX0" fmla="*/ 0 w 6063916"/>
              <a:gd name="connsiteY0" fmla="*/ 0 h 6219825"/>
              <a:gd name="connsiteX1" fmla="*/ 6063916 w 6063916"/>
              <a:gd name="connsiteY1" fmla="*/ 0 h 6219825"/>
              <a:gd name="connsiteX2" fmla="*/ 6063916 w 6063916"/>
              <a:gd name="connsiteY2" fmla="*/ 3365046 h 6219825"/>
              <a:gd name="connsiteX3" fmla="*/ 3031958 w 6063916"/>
              <a:gd name="connsiteY3" fmla="*/ 6219825 h 6219825"/>
              <a:gd name="connsiteX4" fmla="*/ 0 w 6063916"/>
              <a:gd name="connsiteY4" fmla="*/ 3365046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3916" h="6219825">
                <a:moveTo>
                  <a:pt x="0" y="0"/>
                </a:moveTo>
                <a:lnTo>
                  <a:pt x="6063916" y="0"/>
                </a:lnTo>
                <a:lnTo>
                  <a:pt x="6063916" y="3365046"/>
                </a:lnTo>
                <a:cubicBezTo>
                  <a:pt x="6063916" y="4941697"/>
                  <a:pt x="4706462" y="6219825"/>
                  <a:pt x="3031958" y="6219825"/>
                </a:cubicBezTo>
                <a:cubicBezTo>
                  <a:pt x="1357455" y="6219825"/>
                  <a:pt x="0" y="4941697"/>
                  <a:pt x="0" y="336504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B7CDBDB-910C-F161-AAA0-EB82BD9D97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5153BCC4-EF22-07F2-585D-B56E33205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accent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048789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2E3415-0308-8FD9-7611-A28B2CD2A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2714" y="2010455"/>
            <a:ext cx="5169046" cy="1624171"/>
          </a:xfrm>
          <a:prstGeom prst="rect">
            <a:avLst/>
          </a:prstGeom>
          <a:ln>
            <a:noFill/>
          </a:ln>
        </p:spPr>
        <p:txBody>
          <a:bodyPr vert="horz" bIns="46800"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fr-FR"/>
              <a:t>01 Titre </a:t>
            </a:r>
            <a:br>
              <a:rPr lang="fr-FR"/>
            </a:br>
            <a:r>
              <a:rPr lang="fr-FR"/>
              <a:t>du chapitre</a:t>
            </a:r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04B16AAE-01C9-6BC7-3FE5-48E92C756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2714" y="3634626"/>
            <a:ext cx="5169046" cy="1343163"/>
          </a:xfrm>
        </p:spPr>
        <p:txBody>
          <a:bodyPr anchor="t"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omfy Sans Extra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F8854EA6-C51F-C19D-9D42-B9D00327B0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1943099"/>
            <a:ext cx="5729288" cy="2971800"/>
          </a:xfrm>
          <a:custGeom>
            <a:avLst/>
            <a:gdLst>
              <a:gd name="connsiteX0" fmla="*/ 0 w 5729288"/>
              <a:gd name="connsiteY0" fmla="*/ 0 h 2971800"/>
              <a:gd name="connsiteX1" fmla="*/ 4243388 w 5729288"/>
              <a:gd name="connsiteY1" fmla="*/ 0 h 2971800"/>
              <a:gd name="connsiteX2" fmla="*/ 5729288 w 5729288"/>
              <a:gd name="connsiteY2" fmla="*/ 1485900 h 2971800"/>
              <a:gd name="connsiteX3" fmla="*/ 4243388 w 5729288"/>
              <a:gd name="connsiteY3" fmla="*/ 2971800 h 2971800"/>
              <a:gd name="connsiteX4" fmla="*/ 0 w 5729288"/>
              <a:gd name="connsiteY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9288" h="2971800">
                <a:moveTo>
                  <a:pt x="0" y="0"/>
                </a:moveTo>
                <a:lnTo>
                  <a:pt x="4243388" y="0"/>
                </a:lnTo>
                <a:cubicBezTo>
                  <a:pt x="5064028" y="0"/>
                  <a:pt x="5729288" y="665260"/>
                  <a:pt x="5729288" y="1485900"/>
                </a:cubicBezTo>
                <a:cubicBezTo>
                  <a:pt x="5729288" y="2306540"/>
                  <a:pt x="5064028" y="2971800"/>
                  <a:pt x="4243388" y="2971800"/>
                </a:cubicBezTo>
                <a:lnTo>
                  <a:pt x="0" y="2971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A267866C-7543-E78B-6E49-433BCE15F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93B9BAF8-19DF-64CC-A9F5-0BBD1FD89C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512001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F75147-10DA-B8A1-19F9-310B6ECB9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5400000">
            <a:off x="1646124" y="1102178"/>
            <a:ext cx="1263421" cy="4653643"/>
          </a:xfrm>
          <a:ln w="28575"/>
        </p:spPr>
        <p:txBody>
          <a:bodyPr tIns="432000" bIns="72000">
            <a:normAutofit/>
          </a:bodyPr>
          <a:lstStyle>
            <a:lvl1pPr algn="r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fr-FR"/>
              <a:t>Sommai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F5F5F7-4512-0EAE-850B-9D6161A6B1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760504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B2AE38F-F49E-C383-72B5-D0C3131BD2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760506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2DA2207-92D1-2F1E-0DB4-3B5058CC4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5E3658B-BA18-6272-2723-8765DF75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805F7E82-A139-4B89-6C7C-7756D0B23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760504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75DC4D65-568E-DC72-2076-42A24F61108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60506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707FE6A4-37EF-0BD0-9998-E42E05682CB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60504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39634420-DBC5-783D-98EB-F0C686A02ED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760506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6052C59-09F0-F27A-7498-B5877E79D60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760504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EDB500C8-4390-11BF-1866-294EB2E89FD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760506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50839CB2-6DAF-F5EA-C2A8-ADF6E9940A7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760504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3BD630F1-5EB4-3E89-27CA-4215A42D341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760506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93DDC2B-E7BD-2BD1-5E2D-48CC2C42206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938601" y="1514474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D7BD70F-9B56-BD52-FF5A-32EFE537FE3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938603" y="1798026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E61ED1ED-25F3-B195-2804-81029EDF30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938601" y="2317362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6F17A58-1D87-011B-7352-200252423D6D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938603" y="2600914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6022D409-A30C-44D1-A50E-662EEDCC1D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938601" y="3121443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3A757127-DB86-224E-69B5-8F6D24A3205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938603" y="3404995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55FE3FF-7D2F-968F-D15A-BEAE9B99315D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938601" y="3913986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A7A846F7-4DC6-0DAB-A74E-3F427B38C89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8938603" y="4197538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0ABC3DD3-5F8E-6DCD-D021-0AB3A1A3DFF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8938601" y="4716481"/>
            <a:ext cx="2235799" cy="3633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01 Titre chapitre</a:t>
            </a:r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DEE3AA2A-2D14-568F-5799-E9C0D1C0821E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8938603" y="5000033"/>
            <a:ext cx="2235799" cy="363312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Somfy Sans ExtraLight" pitchFamily="2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/>
              <a:t>Sous-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92190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/>
          <a:lstStyle>
            <a:lvl1pPr marL="15875" indent="0">
              <a:tabLst/>
              <a:defRPr b="1" i="0">
                <a:latin typeface="Somfy Sans" pitchFamily="2" charset="0"/>
              </a:defRPr>
            </a:lvl1pPr>
            <a:lvl2pPr marL="15875" indent="0">
              <a:buNone/>
              <a:tabLst/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6655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E3ECFDE-F45C-DE85-E0EA-6B25E993830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2707623"/>
          </a:xfrm>
        </p:spPr>
        <p:txBody>
          <a:bodyPr>
            <a:normAutofit/>
          </a:bodyPr>
          <a:lstStyle>
            <a:lvl1pPr>
              <a:defRPr sz="3200" b="1"/>
            </a:lvl1pPr>
            <a:lvl2pPr marL="0" indent="0">
              <a:buNone/>
              <a:tabLst/>
              <a:defRPr b="0"/>
            </a:lvl2pPr>
            <a:lvl3pPr marL="223838" indent="-131763">
              <a:tabLst/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911181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437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397482" cy="3740357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b="0" i="0">
                <a:solidFill>
                  <a:srgbClr val="25485A"/>
                </a:solidFill>
                <a:latin typeface="Somfy Sans" pitchFamily="2" charset="0"/>
              </a:defRPr>
            </a:lvl1pPr>
            <a:lvl2pPr marL="6858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2pPr>
            <a:lvl3pPr>
              <a:defRPr>
                <a:solidFill>
                  <a:srgbClr val="25485A"/>
                </a:solidFill>
              </a:defRPr>
            </a:lvl3pPr>
            <a:lvl4pPr marL="1600200" indent="-228600">
              <a:buFont typeface="Apple Symbols" panose="02000000000000000000" pitchFamily="2" charset="-79"/>
              <a:buChar char="⎼"/>
              <a:defRPr>
                <a:solidFill>
                  <a:srgbClr val="25485A"/>
                </a:solidFill>
              </a:defRPr>
            </a:lvl4pPr>
            <a:lvl5pPr>
              <a:defRPr>
                <a:solidFill>
                  <a:srgbClr val="25485A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FCCA95E-564E-74A8-78B0-C11C5C7887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9954" y="2240895"/>
            <a:ext cx="3263152" cy="3740357"/>
          </a:xfrm>
        </p:spPr>
        <p:txBody>
          <a:bodyPr>
            <a:normAutofit/>
          </a:bodyPr>
          <a:lstStyle>
            <a:lvl1pPr>
              <a:defRPr sz="3200" b="1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FE2320D-21F5-02F6-4F6A-B59B9172F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1189553" cy="1325563"/>
          </a:xfrm>
        </p:spPr>
        <p:txBody>
          <a:bodyPr/>
          <a:lstStyle>
            <a:lvl1pPr>
              <a:defRPr>
                <a:solidFill>
                  <a:srgbClr val="25485A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64909404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0ADA4CE-E1A9-90EC-741A-073DE1E7B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41646" y="0"/>
            <a:ext cx="8650354" cy="6858000"/>
          </a:xfrm>
          <a:custGeom>
            <a:avLst/>
            <a:gdLst>
              <a:gd name="connsiteX0" fmla="*/ 0 w 8650354"/>
              <a:gd name="connsiteY0" fmla="*/ 0 h 6858000"/>
              <a:gd name="connsiteX1" fmla="*/ 8650354 w 8650354"/>
              <a:gd name="connsiteY1" fmla="*/ 0 h 6858000"/>
              <a:gd name="connsiteX2" fmla="*/ 8650354 w 8650354"/>
              <a:gd name="connsiteY2" fmla="*/ 6858000 h 6858000"/>
              <a:gd name="connsiteX3" fmla="*/ 1 w 8650354"/>
              <a:gd name="connsiteY3" fmla="*/ 6858000 h 6858000"/>
              <a:gd name="connsiteX4" fmla="*/ 87429 w 8650354"/>
              <a:gd name="connsiteY4" fmla="*/ 6714088 h 6858000"/>
              <a:gd name="connsiteX5" fmla="*/ 521280 w 8650354"/>
              <a:gd name="connsiteY5" fmla="*/ 5000676 h 6858000"/>
              <a:gd name="connsiteX6" fmla="*/ 521280 w 8650354"/>
              <a:gd name="connsiteY6" fmla="*/ 1857324 h 6858000"/>
              <a:gd name="connsiteX7" fmla="*/ 87429 w 8650354"/>
              <a:gd name="connsiteY7" fmla="*/ 1439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50354" h="6858000">
                <a:moveTo>
                  <a:pt x="0" y="0"/>
                </a:moveTo>
                <a:lnTo>
                  <a:pt x="8650354" y="0"/>
                </a:lnTo>
                <a:lnTo>
                  <a:pt x="8650354" y="6858000"/>
                </a:lnTo>
                <a:lnTo>
                  <a:pt x="1" y="6858000"/>
                </a:lnTo>
                <a:lnTo>
                  <a:pt x="87429" y="6714088"/>
                </a:lnTo>
                <a:cubicBezTo>
                  <a:pt x="364116" y="6204754"/>
                  <a:pt x="521280" y="5621069"/>
                  <a:pt x="521280" y="5000676"/>
                </a:cubicBezTo>
                <a:lnTo>
                  <a:pt x="521280" y="1857324"/>
                </a:lnTo>
                <a:cubicBezTo>
                  <a:pt x="521280" y="1236931"/>
                  <a:pt x="364116" y="653246"/>
                  <a:pt x="87429" y="14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9271" y="2240895"/>
            <a:ext cx="7104528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9954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B77150A-90C1-4B63-82F4-4959DD19A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0" y="6448288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9558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A299A93-8ADF-E1EF-DC65-A4E9755F9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30531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conten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bg1"/>
                </a:solidFill>
              </a:defRPr>
            </a:lvl2pPr>
            <a:lvl3pPr marL="92075" indent="-92075">
              <a:tabLst/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0723E3B-7658-64C0-B29A-43D70924C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65105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conten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4488" y="2240895"/>
            <a:ext cx="3944320" cy="374035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052684F-A4A1-5EC8-0E55-E93BF8AF612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5171" y="2240895"/>
            <a:ext cx="3263152" cy="3740357"/>
          </a:xfr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  <a:lvl2pPr marL="14288" indent="0">
              <a:buNone/>
              <a:tabLst/>
              <a:defRPr b="0">
                <a:solidFill>
                  <a:schemeClr val="accent1"/>
                </a:solidFill>
              </a:defRPr>
            </a:lvl2pPr>
            <a:lvl3pPr marL="92075" indent="-92075">
              <a:tabLst/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956C07E5-5231-C7A5-061E-84CD8F237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9985" y="0"/>
            <a:ext cx="4077572" cy="6858000"/>
          </a:xfrm>
          <a:custGeom>
            <a:avLst/>
            <a:gdLst>
              <a:gd name="connsiteX0" fmla="*/ 0 w 4077572"/>
              <a:gd name="connsiteY0" fmla="*/ 0 h 6858000"/>
              <a:gd name="connsiteX1" fmla="*/ 3541293 w 4077572"/>
              <a:gd name="connsiteY1" fmla="*/ 0 h 6858000"/>
              <a:gd name="connsiteX2" fmla="*/ 3647887 w 4077572"/>
              <a:gd name="connsiteY2" fmla="*/ 175459 h 6858000"/>
              <a:gd name="connsiteX3" fmla="*/ 4077572 w 4077572"/>
              <a:gd name="connsiteY3" fmla="*/ 1872417 h 6858000"/>
              <a:gd name="connsiteX4" fmla="*/ 4077572 w 4077572"/>
              <a:gd name="connsiteY4" fmla="*/ 4985583 h 6858000"/>
              <a:gd name="connsiteX5" fmla="*/ 3647887 w 4077572"/>
              <a:gd name="connsiteY5" fmla="*/ 6682542 h 6858000"/>
              <a:gd name="connsiteX6" fmla="*/ 3541293 w 4077572"/>
              <a:gd name="connsiteY6" fmla="*/ 6858000 h 6858000"/>
              <a:gd name="connsiteX7" fmla="*/ 0 w 407757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77572" h="6858000">
                <a:moveTo>
                  <a:pt x="0" y="0"/>
                </a:moveTo>
                <a:lnTo>
                  <a:pt x="3541293" y="0"/>
                </a:lnTo>
                <a:lnTo>
                  <a:pt x="3647887" y="175459"/>
                </a:lnTo>
                <a:cubicBezTo>
                  <a:pt x="3921917" y="679902"/>
                  <a:pt x="4077572" y="1257982"/>
                  <a:pt x="4077572" y="1872417"/>
                </a:cubicBezTo>
                <a:lnTo>
                  <a:pt x="4077572" y="4985583"/>
                </a:lnTo>
                <a:cubicBezTo>
                  <a:pt x="4077572" y="5600019"/>
                  <a:pt x="3921917" y="6178098"/>
                  <a:pt x="3647887" y="6682542"/>
                </a:cubicBezTo>
                <a:lnTo>
                  <a:pt x="35412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D7C4633-81A1-7563-532A-193FD896E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62" y="6448289"/>
            <a:ext cx="611132" cy="15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88143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D31E579B-CA79-0E59-E871-3FEA98143B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BA999C-DC4E-AFE5-109E-78D174E34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37AC010-C91C-EAD8-4914-1CB6A4D85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A7CFACC1-CD51-EC38-B4C6-A2386A077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95624" y="1381125"/>
            <a:ext cx="6000750" cy="4095750"/>
          </a:xfrm>
          <a:prstGeom prst="roundRect">
            <a:avLst>
              <a:gd name="adj" fmla="val 12016"/>
            </a:avLst>
          </a:prstGeom>
          <a:solidFill>
            <a:schemeClr val="accent1"/>
          </a:solidFill>
        </p:spPr>
        <p:txBody>
          <a:bodyPr lIns="468000" tIns="324000" rIns="468000" bIns="468000">
            <a:norm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800" b="0">
                <a:solidFill>
                  <a:schemeClr val="accent2"/>
                </a:solidFill>
              </a:defRPr>
            </a:lvl2pPr>
            <a:lvl3pPr>
              <a:defRPr sz="1600" b="0">
                <a:solidFill>
                  <a:schemeClr val="accent2"/>
                </a:solidFill>
              </a:defRPr>
            </a:lvl3pPr>
            <a:lvl4pPr>
              <a:defRPr sz="1400" b="0">
                <a:solidFill>
                  <a:schemeClr val="accent2"/>
                </a:solidFill>
              </a:defRPr>
            </a:lvl4pPr>
            <a:lvl5pPr>
              <a:defRPr sz="14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02C4CAA0-969E-2D46-7D12-8B86F436EA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3138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83F28675-C92D-81C6-4262-C29A0BA0304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07981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4AB7EF7-AD08-88C8-1B9E-719F81EF38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1961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F717D1F2-D833-4BD2-FBD6-010787685B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6804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pour une image  12">
            <a:extLst>
              <a:ext uri="{FF2B5EF4-FFF2-40B4-BE49-F238E27FC236}">
                <a16:creationId xmlns:a16="http://schemas.microsoft.com/office/drawing/2014/main" id="{1DDB1634-5A81-65E5-1962-8139E566AAF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506324" y="3067050"/>
            <a:ext cx="776037" cy="8191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 err="1"/>
              <a:t>Picto</a:t>
            </a:r>
            <a:endParaRPr lang="en-GB"/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F00006B8-DCDC-66B0-C8B4-7C91E4056D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5147" y="3886200"/>
            <a:ext cx="1578390" cy="779462"/>
          </a:xfrm>
        </p:spPr>
        <p:txBody>
          <a:bodyPr>
            <a:noAutofit/>
          </a:bodyPr>
          <a:lstStyle>
            <a:lvl1pPr algn="ctr">
              <a:lnSpc>
                <a:spcPct val="90000"/>
              </a:lnSpc>
              <a:defRPr sz="1000" b="1">
                <a:solidFill>
                  <a:schemeClr val="bg1"/>
                </a:solidFill>
              </a:defRPr>
            </a:lvl1pPr>
            <a:lvl2pPr marL="9525" indent="0" algn="ctr">
              <a:lnSpc>
                <a:spcPct val="90000"/>
              </a:lnSpc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Somfy Sans ExtraLight" pitchFamily="2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C1E037D-44D2-A94C-5E51-6A66AEA09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35754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1791EC-E031-B0F6-0173-8DCAC556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91F8AD-E60C-7C9D-104F-6CAB56BDB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4" y="2240895"/>
            <a:ext cx="10833845" cy="37403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4F98EB-E5D4-2B55-C2D9-D44DCE9F1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E85295-34D6-5270-8FE8-2C0D5BB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841661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79E6FC-3678-C11A-FAC4-EAD29BC33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6D766B-81F8-5737-847B-CE76F555B5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E9B4A1-E7F2-06B9-FCBC-5D3596DCB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88F32B6-9DF0-5E8F-C58F-CCB32A4AC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1EF4617-50F8-2370-9B4A-BA9136DCA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817998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5B8A7D-D6FC-7CC2-7156-A2DC8723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111AE8-D56F-310E-89DB-21D874755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253C80-252C-394C-372C-6EC46004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62913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16200000" flipH="1">
            <a:off x="4323721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502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2318D-BB55-4C30-9F3F-E81B7D2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FE79B0-A8B4-4BE6-BA7D-FB77F6B07B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mfy Smart Shading off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23EDCB-A83A-43B6-BB37-4C0034BE5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A385715C-21E6-408D-B9B3-9DEFC534C3D5}"/>
              </a:ext>
            </a:extLst>
          </p:cNvPr>
          <p:cNvSpPr txBox="1">
            <a:spLocks/>
          </p:cNvSpPr>
          <p:nvPr userDrawn="1"/>
        </p:nvSpPr>
        <p:spPr>
          <a:xfrm rot="5400000">
            <a:off x="5616997" y="-1556329"/>
            <a:ext cx="2245088" cy="1096873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 w="12700">
            <a:noFill/>
          </a:ln>
        </p:spPr>
        <p:txBody>
          <a:bodyPr vert="vert270" lIns="91440" tIns="45720" rIns="91440" bIns="57600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487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image" Target="../media/image7.emf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theme" Target="../theme/theme2.xml"/><Relationship Id="rId8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image" Target="../media/image7.emf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tags" Target="../tags/tag8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theme" Target="../theme/theme4.xml"/><Relationship Id="rId8" Type="http://schemas.openxmlformats.org/officeDocument/2006/relationships/slideLayout" Target="../slideLayouts/slideLayout8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slideLayout" Target="../slideLayouts/slideLayout121.xml"/><Relationship Id="rId26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5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24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23" Type="http://schemas.openxmlformats.org/officeDocument/2006/relationships/slideLayout" Target="../slideLayouts/slideLayout126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13.xml"/><Relationship Id="rId19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slideLayout" Target="../slideLayouts/slideLayout125.xml"/><Relationship Id="rId27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18043"/>
            <a:ext cx="10896599" cy="41632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2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9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rgbClr val="25485A"/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798" y="6448289"/>
            <a:ext cx="608633" cy="159243"/>
          </a:xfrm>
          <a:prstGeom prst="rect">
            <a:avLst/>
          </a:prstGeom>
        </p:spPr>
      </p:pic>
      <p:sp>
        <p:nvSpPr>
          <p:cNvPr id="36" name="Espace réservé du titre 35">
            <a:extLst>
              <a:ext uri="{FF2B5EF4-FFF2-40B4-BE49-F238E27FC236}">
                <a16:creationId xmlns:a16="http://schemas.microsoft.com/office/drawing/2014/main" id="{F5F19FC6-14D0-8387-FE3D-9C988F406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65125"/>
            <a:ext cx="1089659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035448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3" r:id="rId3"/>
    <p:sldLayoutId id="2147483661" r:id="rId4"/>
    <p:sldLayoutId id="2147483668" r:id="rId5"/>
    <p:sldLayoutId id="2147483678" r:id="rId6"/>
    <p:sldLayoutId id="2147483664" r:id="rId7"/>
    <p:sldLayoutId id="2147483665" r:id="rId8"/>
    <p:sldLayoutId id="2147483669" r:id="rId9"/>
    <p:sldLayoutId id="2147483679" r:id="rId10"/>
    <p:sldLayoutId id="2147483660" r:id="rId11"/>
    <p:sldLayoutId id="2147483670" r:id="rId12"/>
    <p:sldLayoutId id="2147483655" r:id="rId13"/>
    <p:sldLayoutId id="2147483654" r:id="rId14"/>
    <p:sldLayoutId id="2147483676" r:id="rId15"/>
    <p:sldLayoutId id="2147483677" r:id="rId16"/>
    <p:sldLayoutId id="2147483708" r:id="rId17"/>
    <p:sldLayoutId id="2147483715" r:id="rId18"/>
    <p:sldLayoutId id="2147483717" r:id="rId19"/>
    <p:sldLayoutId id="2147483720" r:id="rId2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i="0" kern="1200">
          <a:solidFill>
            <a:srgbClr val="25485A"/>
          </a:solidFill>
          <a:latin typeface="Somfy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1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rgbClr val="25485A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51F7974-3CC6-4D11-8385-ED12781B8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87199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53" imgH="353" progId="TCLayout.ActiveDocument.1">
                  <p:embed/>
                </p:oleObj>
              </mc:Choice>
              <mc:Fallback>
                <p:oleObj name="think-cell Slide" r:id="rId32" imgW="353" imgH="35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51F7974-3CC6-4D11-8385-ED12781B8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1331664" y="-698217"/>
            <a:ext cx="884419" cy="36000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anose="00000500000000000000" pitchFamily="50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706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  <p:sldLayoutId id="2147483755" r:id="rId22"/>
    <p:sldLayoutId id="2147483756" r:id="rId23"/>
    <p:sldLayoutId id="2147483757" r:id="rId24"/>
    <p:sldLayoutId id="2147483758" r:id="rId25"/>
    <p:sldLayoutId id="2147483759" r:id="rId26"/>
    <p:sldLayoutId id="2147483760" r:id="rId27"/>
    <p:sldLayoutId id="2147483761" r:id="rId28"/>
    <p:sldLayoutId id="2147483762" r:id="rId2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0" i="0" kern="1200">
          <a:solidFill>
            <a:schemeClr val="accent1"/>
          </a:solidFill>
          <a:latin typeface="Somfy Sans" panose="00000500000000000000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500228" y="129361"/>
            <a:ext cx="884419" cy="1944845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487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  <p:sldLayoutId id="2147483788" r:id="rId2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600" b="0" i="0" kern="1200">
          <a:solidFill>
            <a:schemeClr val="accent1"/>
          </a:solidFill>
          <a:latin typeface="Somfy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51F7974-3CC6-4D11-8385-ED12781B8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87199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53" imgH="353" progId="TCLayout.ActiveDocument.1">
                  <p:embed/>
                </p:oleObj>
              </mc:Choice>
              <mc:Fallback>
                <p:oleObj name="think-cell Slide" r:id="rId32" imgW="353" imgH="35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51F7974-3CC6-4D11-8385-ED12781B8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1331664" y="-698217"/>
            <a:ext cx="884419" cy="36000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anose="00000500000000000000" pitchFamily="50" charset="0"/>
              </a:defRPr>
            </a:lvl1pPr>
          </a:lstStyle>
          <a:p>
            <a:r>
              <a:rPr lang="en-GB"/>
              <a:t>Somfy Smart Shading off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38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31" r:id="rId15"/>
    <p:sldLayoutId id="2147483832" r:id="rId16"/>
    <p:sldLayoutId id="2147483833" r:id="rId17"/>
    <p:sldLayoutId id="2147483834" r:id="rId18"/>
    <p:sldLayoutId id="2147483835" r:id="rId19"/>
    <p:sldLayoutId id="2147483836" r:id="rId20"/>
    <p:sldLayoutId id="2147483837" r:id="rId21"/>
    <p:sldLayoutId id="2147483838" r:id="rId22"/>
    <p:sldLayoutId id="2147483839" r:id="rId23"/>
    <p:sldLayoutId id="2147483840" r:id="rId24"/>
    <p:sldLayoutId id="2147483841" r:id="rId25"/>
    <p:sldLayoutId id="2147483842" r:id="rId26"/>
    <p:sldLayoutId id="2147483843" r:id="rId27"/>
    <p:sldLayoutId id="2147483844" r:id="rId28"/>
    <p:sldLayoutId id="2147483845" r:id="rId2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0" i="0" kern="1200">
          <a:solidFill>
            <a:schemeClr val="accent1"/>
          </a:solidFill>
          <a:latin typeface="Somfy Sans" panose="00000500000000000000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F95BC87-ECDD-EBA2-B1D0-CA8967E5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500228" y="129361"/>
            <a:ext cx="884419" cy="1944845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en-GB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AAA195B-95B5-8A50-18FC-A49922E77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240895"/>
            <a:ext cx="10896599" cy="3740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GB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77D3FC-4FE8-B780-A274-D9A6CC7E07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13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F19870-8E7A-AC02-9170-7CD53DC03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6752" y="6356350"/>
            <a:ext cx="392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Somfy Sans" pitchFamily="2" charset="0"/>
              </a:defRPr>
            </a:lvl1pPr>
          </a:lstStyle>
          <a:p>
            <a:fld id="{437F0C63-9D9F-2642-9BE6-825938832B4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97805DB-5B3E-C58F-4AD8-FEFFA388367F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561" y="6448289"/>
            <a:ext cx="608633" cy="1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37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  <p:sldLayoutId id="2147483878" r:id="rId15"/>
    <p:sldLayoutId id="2147483879" r:id="rId16"/>
    <p:sldLayoutId id="2147483880" r:id="rId17"/>
    <p:sldLayoutId id="2147483881" r:id="rId18"/>
    <p:sldLayoutId id="2147483882" r:id="rId19"/>
    <p:sldLayoutId id="2147483883" r:id="rId20"/>
    <p:sldLayoutId id="2147483884" r:id="rId21"/>
    <p:sldLayoutId id="2147483885" r:id="rId22"/>
    <p:sldLayoutId id="2147483886" r:id="rId23"/>
    <p:sldLayoutId id="2147483887" r:id="rId24"/>
    <p:sldLayoutId id="2147483888" r:id="rId25"/>
    <p:sldLayoutId id="2147483889" r:id="rId2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600" b="0" i="0" kern="1200">
          <a:solidFill>
            <a:schemeClr val="accent1"/>
          </a:solidFill>
          <a:latin typeface="Somfy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accent1"/>
          </a:solidFill>
          <a:latin typeface="Somfy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15.xml"/><Relationship Id="rId4" Type="http://schemas.openxmlformats.org/officeDocument/2006/relationships/image" Target="../media/image10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72.xml"/><Relationship Id="rId1" Type="http://schemas.openxmlformats.org/officeDocument/2006/relationships/tags" Target="../tags/tag1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26" Type="http://schemas.openxmlformats.org/officeDocument/2006/relationships/image" Target="../media/image39.png"/><Relationship Id="rId3" Type="http://schemas.openxmlformats.org/officeDocument/2006/relationships/image" Target="../media/image16.png"/><Relationship Id="rId21" Type="http://schemas.openxmlformats.org/officeDocument/2006/relationships/image" Target="../media/image34.svg"/><Relationship Id="rId7" Type="http://schemas.openxmlformats.org/officeDocument/2006/relationships/image" Target="../media/image20.jpeg"/><Relationship Id="rId12" Type="http://schemas.openxmlformats.org/officeDocument/2006/relationships/image" Target="../media/image25.jpeg"/><Relationship Id="rId17" Type="http://schemas.openxmlformats.org/officeDocument/2006/relationships/image" Target="../media/image30.jpeg"/><Relationship Id="rId25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9.png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24" Type="http://schemas.openxmlformats.org/officeDocument/2006/relationships/image" Target="../media/image37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23" Type="http://schemas.openxmlformats.org/officeDocument/2006/relationships/image" Target="../media/image36.jpeg"/><Relationship Id="rId10" Type="http://schemas.openxmlformats.org/officeDocument/2006/relationships/image" Target="../media/image23.jpeg"/><Relationship Id="rId19" Type="http://schemas.openxmlformats.org/officeDocument/2006/relationships/image" Target="../media/image32.png"/><Relationship Id="rId4" Type="http://schemas.openxmlformats.org/officeDocument/2006/relationships/image" Target="../media/image17.jpeg"/><Relationship Id="rId9" Type="http://schemas.openxmlformats.org/officeDocument/2006/relationships/image" Target="../media/image22.jpeg"/><Relationship Id="rId14" Type="http://schemas.openxmlformats.org/officeDocument/2006/relationships/image" Target="../media/image27.jpeg"/><Relationship Id="rId22" Type="http://schemas.openxmlformats.org/officeDocument/2006/relationships/image" Target="../media/image35.jpeg"/><Relationship Id="rId27" Type="http://schemas.openxmlformats.org/officeDocument/2006/relationships/image" Target="../media/image40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2318350-DA3D-B124-4C0C-AC4DDEAD5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315255"/>
            <a:ext cx="3559630" cy="2227490"/>
          </a:xfrm>
        </p:spPr>
        <p:txBody>
          <a:bodyPr/>
          <a:lstStyle/>
          <a:p>
            <a:pPr algn="ctr"/>
            <a:r>
              <a:rPr lang="cs-CZ" sz="3600" b="1" dirty="0">
                <a:solidFill>
                  <a:srgbClr val="FAB800"/>
                </a:solidFill>
                <a:latin typeface="Somfy Sans" panose="00000500000000000000" pitchFamily="50" charset="0"/>
              </a:rPr>
              <a:t>Smoove phase out information</a:t>
            </a:r>
            <a:br>
              <a:rPr lang="fr-FR" dirty="0"/>
            </a:br>
            <a:br>
              <a:rPr lang="fr-FR" dirty="0"/>
            </a:br>
            <a:r>
              <a:rPr lang="fr-FR" dirty="0"/>
              <a:t>Amy </a:t>
            </a:r>
            <a:r>
              <a:rPr lang="fr-FR" dirty="0" err="1"/>
              <a:t>io</a:t>
            </a:r>
            <a:r>
              <a:rPr lang="fr-FR" dirty="0"/>
              <a:t> range</a:t>
            </a:r>
          </a:p>
        </p:txBody>
      </p:sp>
      <p:pic>
        <p:nvPicPr>
          <p:cNvPr id="6" name="Espace réservé pour une image  5">
            <a:extLst>
              <a:ext uri="{FF2B5EF4-FFF2-40B4-BE49-F238E27FC236}">
                <a16:creationId xmlns:a16="http://schemas.microsoft.com/office/drawing/2014/main" id="{B318AB65-64E6-154D-456F-8EF3AACDFC5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/>
          <a:srcRect/>
          <a:stretch/>
        </p:blipFill>
        <p:spPr>
          <a:xfrm>
            <a:off x="2643073" y="0"/>
            <a:ext cx="9548927" cy="6858000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87071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DA1B1E-B510-4B8B-8809-763E864C3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5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Somfy Sans" pitchFamily="2" charset="0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5038EB-D3E2-4627-90EC-8D0BBFE23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7F0C63-9D9F-2642-9BE6-825938832B4F}" type="slidenum"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Somfy Sans" pitchFamily="2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65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Somfy Sans" pitchFamily="2" charset="0"/>
              <a:ea typeface="+mn-ea"/>
              <a:cs typeface="+mn-cs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C9F4056B-3080-FA10-39C7-16EA02C442A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812645" y="3430010"/>
            <a:ext cx="1438476" cy="1455507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27E2735F-F607-5D5F-230F-AD73E6CF8957}"/>
              </a:ext>
            </a:extLst>
          </p:cNvPr>
          <p:cNvSpPr txBox="1"/>
          <p:nvPr/>
        </p:nvSpPr>
        <p:spPr>
          <a:xfrm>
            <a:off x="3810609" y="2019134"/>
            <a:ext cx="29341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 Light" panose="00000400000000000000" pitchFamily="50" charset="0"/>
                <a:ea typeface="+mn-ea"/>
                <a:cs typeface="+mn-cs"/>
              </a:rPr>
              <a:t>Control </a:t>
            </a:r>
            <a:r>
              <a:rPr kumimoji="0" lang="fr-F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 Light" panose="00000400000000000000" pitchFamily="50" charset="0"/>
                <a:ea typeface="+mn-ea"/>
                <a:cs typeface="+mn-cs"/>
              </a:rPr>
              <a:t>sun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 Light" panose="00000400000000000000" pitchFamily="50" charset="0"/>
                <a:ea typeface="+mn-ea"/>
                <a:cs typeface="+mn-cs"/>
              </a:rPr>
              <a:t> protection and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11FCAF17-2AEB-99DE-E5BB-4739A0B8F453}"/>
              </a:ext>
            </a:extLst>
          </p:cNvPr>
          <p:cNvSpPr txBox="1"/>
          <p:nvPr/>
        </p:nvSpPr>
        <p:spPr>
          <a:xfrm>
            <a:off x="3355085" y="2347080"/>
            <a:ext cx="3845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 Light" panose="00000400000000000000" pitchFamily="50" charset="0"/>
                <a:ea typeface="+mn-ea"/>
                <a:cs typeface="+mn-cs"/>
              </a:rPr>
              <a:t>u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 Light" panose="00000400000000000000" pitchFamily="50" charset="0"/>
                <a:ea typeface="+mn-ea"/>
                <a:cs typeface="+mn-cs"/>
              </a:rPr>
              <a:t>se 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 Light" panose="00000400000000000000" pitchFamily="50" charset="0"/>
                <a:ea typeface="+mn-ea"/>
                <a:cs typeface="+mn-cs"/>
              </a:rPr>
              <a:t>indoor </a:t>
            </a:r>
            <a:r>
              <a:rPr kumimoji="0" lang="fr-F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 Light" panose="00000400000000000000" pitchFamily="50" charset="0"/>
                <a:ea typeface="+mn-ea"/>
                <a:cs typeface="+mn-cs"/>
              </a:rPr>
              <a:t>temperature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 Light" panose="00000400000000000000" pitchFamily="50" charset="0"/>
                <a:ea typeface="+mn-ea"/>
                <a:cs typeface="+mn-cs"/>
              </a:rPr>
              <a:t> information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FBCA01DD-D0C1-2586-0938-F5141C4EB585}"/>
              </a:ext>
            </a:extLst>
          </p:cNvPr>
          <p:cNvSpPr txBox="1"/>
          <p:nvPr/>
        </p:nvSpPr>
        <p:spPr>
          <a:xfrm>
            <a:off x="3464389" y="2705328"/>
            <a:ext cx="36265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FAB800"/>
                </a:solidFill>
                <a:effectLst/>
                <a:uLnTx/>
                <a:uFillTx/>
                <a:latin typeface="Somfy Sans" panose="00000500000000000000" pitchFamily="50" charset="0"/>
                <a:ea typeface="+mn-ea"/>
                <a:cs typeface="+mn-cs"/>
              </a:rPr>
              <a:t>Amy </a:t>
            </a:r>
            <a:r>
              <a:rPr kumimoji="0" lang="fr-F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AB800"/>
                </a:solidFill>
                <a:effectLst/>
                <a:uLnTx/>
                <a:uFillTx/>
                <a:latin typeface="Somfy Sans" panose="00000500000000000000" pitchFamily="50" charset="0"/>
                <a:ea typeface="+mn-ea"/>
                <a:cs typeface="+mn-cs"/>
              </a:rPr>
              <a:t>io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FAB800"/>
                </a:solidFill>
                <a:effectLst/>
                <a:uLnTx/>
                <a:uFillTx/>
                <a:latin typeface="Somfy Sans" panose="00000500000000000000" pitchFamily="50" charset="0"/>
                <a:ea typeface="+mn-ea"/>
                <a:cs typeface="+mn-cs"/>
              </a:rPr>
              <a:t> range (1 </a:t>
            </a:r>
            <a:r>
              <a:rPr kumimoji="0" lang="fr-F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AB800"/>
                </a:solidFill>
                <a:effectLst/>
                <a:uLnTx/>
                <a:uFillTx/>
                <a:latin typeface="Somfy Sans" panose="00000500000000000000" pitchFamily="50" charset="0"/>
                <a:ea typeface="+mn-ea"/>
                <a:cs typeface="+mn-cs"/>
              </a:rPr>
              <a:t>channel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FAB800"/>
                </a:solidFill>
                <a:effectLst/>
                <a:uLnTx/>
                <a:uFillTx/>
                <a:latin typeface="Somfy Sans" panose="00000500000000000000" pitchFamily="50" charset="0"/>
                <a:ea typeface="+mn-ea"/>
                <a:cs typeface="+mn-cs"/>
              </a:rPr>
              <a:t> versions)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269C8CED-B910-92EF-5D03-91F2DB85C3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5813" y="3259659"/>
            <a:ext cx="897530" cy="1796209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4C689DAD-D925-A283-2F78-F3119CC51F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65331" y="3235433"/>
            <a:ext cx="190527" cy="447737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8B10154B-D955-37B0-C7D8-653E701FA2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56497" y="4620957"/>
            <a:ext cx="2016162" cy="499847"/>
          </a:xfrm>
          <a:prstGeom prst="rect">
            <a:avLst/>
          </a:prstGeom>
        </p:spPr>
      </p:pic>
      <p:sp>
        <p:nvSpPr>
          <p:cNvPr id="28" name="ZoneTexte 27">
            <a:extLst>
              <a:ext uri="{FF2B5EF4-FFF2-40B4-BE49-F238E27FC236}">
                <a16:creationId xmlns:a16="http://schemas.microsoft.com/office/drawing/2014/main" id="{122F6BCC-8753-F6AB-649F-C57AF5469AAB}"/>
              </a:ext>
            </a:extLst>
          </p:cNvPr>
          <p:cNvSpPr txBox="1"/>
          <p:nvPr/>
        </p:nvSpPr>
        <p:spPr>
          <a:xfrm>
            <a:off x="5512748" y="3750942"/>
            <a:ext cx="3351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FAB800"/>
                </a:solidFill>
                <a:effectLst/>
                <a:uLnTx/>
                <a:uFillTx/>
                <a:latin typeface="Somfy Sans" panose="00000500000000000000" pitchFamily="50" charset="0"/>
                <a:ea typeface="+mn-ea"/>
                <a:cs typeface="+mn-cs"/>
              </a:rPr>
              <a:t>+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BB0A572F-2620-772E-12C8-4871E12054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00250" y="3929767"/>
            <a:ext cx="1804273" cy="1382379"/>
          </a:xfrm>
          <a:prstGeom prst="rect">
            <a:avLst/>
          </a:prstGeom>
        </p:spPr>
      </p:pic>
      <p:sp>
        <p:nvSpPr>
          <p:cNvPr id="8" name="Titre 1">
            <a:extLst>
              <a:ext uri="{FF2B5EF4-FFF2-40B4-BE49-F238E27FC236}">
                <a16:creationId xmlns:a16="http://schemas.microsoft.com/office/drawing/2014/main" id="{137145DC-9E9B-E3DE-7E79-1B9BB72A497C}"/>
              </a:ext>
            </a:extLst>
          </p:cNvPr>
          <p:cNvSpPr txBox="1">
            <a:spLocks/>
          </p:cNvSpPr>
          <p:nvPr/>
        </p:nvSpPr>
        <p:spPr>
          <a:xfrm rot="5400000">
            <a:off x="1473008" y="-1300118"/>
            <a:ext cx="990985" cy="3937003"/>
          </a:xfrm>
          <a:prstGeom prst="round2SameRect">
            <a:avLst>
              <a:gd name="adj1" fmla="val 48876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000" b="1" i="0" u="none" strike="noStrike" kern="1200" cap="none" spc="0" normalizeH="0" baseline="0" noProof="0" dirty="0">
                <a:ln>
                  <a:noFill/>
                </a:ln>
                <a:solidFill>
                  <a:srgbClr val="485C74"/>
                </a:solidFill>
                <a:effectLst/>
                <a:uLnTx/>
                <a:uFillTx/>
                <a:ea typeface="+mj-ea"/>
                <a:cs typeface="Calibri Light" panose="020F0302020204030204" pitchFamily="34" charset="0"/>
              </a:rPr>
              <a:t>Main functions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mfy Sans" pitchFamily="2" charset="0"/>
              <a:ea typeface="+mj-ea"/>
              <a:cs typeface="+mj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75681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Rectangle : coins arrondis 6">
            <a:extLst>
              <a:ext uri="{FF2B5EF4-FFF2-40B4-BE49-F238E27FC236}">
                <a16:creationId xmlns:a16="http://schemas.microsoft.com/office/drawing/2014/main" id="{15966677-3DB8-9DC2-B671-3AA07C1FB444}"/>
              </a:ext>
            </a:extLst>
          </p:cNvPr>
          <p:cNvSpPr/>
          <p:nvPr/>
        </p:nvSpPr>
        <p:spPr>
          <a:xfrm>
            <a:off x="7459518" y="5011264"/>
            <a:ext cx="4624141" cy="1099919"/>
          </a:xfrm>
          <a:prstGeom prst="roundRect">
            <a:avLst/>
          </a:prstGeom>
          <a:solidFill>
            <a:srgbClr val="FCFBFA"/>
          </a:solidFill>
          <a:ln w="19050">
            <a:solidFill>
              <a:srgbClr val="25485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0" name="Rectangle : coins arrondis 4">
            <a:extLst>
              <a:ext uri="{FF2B5EF4-FFF2-40B4-BE49-F238E27FC236}">
                <a16:creationId xmlns:a16="http://schemas.microsoft.com/office/drawing/2014/main" id="{82F90BD5-1876-05C5-1119-2180984C4A25}"/>
              </a:ext>
            </a:extLst>
          </p:cNvPr>
          <p:cNvSpPr/>
          <p:nvPr/>
        </p:nvSpPr>
        <p:spPr>
          <a:xfrm>
            <a:off x="7465615" y="4029053"/>
            <a:ext cx="4624141" cy="914400"/>
          </a:xfrm>
          <a:prstGeom prst="roundRect">
            <a:avLst/>
          </a:prstGeom>
          <a:solidFill>
            <a:srgbClr val="366B86"/>
          </a:solidFill>
          <a:ln w="19050">
            <a:solidFill>
              <a:srgbClr val="F5F1E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884305D-CDE6-CE46-E3F8-1B8F743E2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37F0C63-9D9F-2642-9BE6-825938832B4F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itchFamily="2" charset="0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Somfy Sans" pitchFamily="2" charset="0"/>
              <a:ea typeface="+mn-ea"/>
              <a:cs typeface="Arial"/>
              <a:sym typeface="Arial"/>
            </a:endParaRPr>
          </a:p>
        </p:txBody>
      </p:sp>
      <p:cxnSp>
        <p:nvCxnSpPr>
          <p:cNvPr id="106" name="Connecteur droit 17">
            <a:extLst>
              <a:ext uri="{FF2B5EF4-FFF2-40B4-BE49-F238E27FC236}">
                <a16:creationId xmlns:a16="http://schemas.microsoft.com/office/drawing/2014/main" id="{2854D052-6DD9-F8C2-76A7-2A67DFE66759}"/>
              </a:ext>
            </a:extLst>
          </p:cNvPr>
          <p:cNvCxnSpPr>
            <a:cxnSpLocks/>
          </p:cNvCxnSpPr>
          <p:nvPr/>
        </p:nvCxnSpPr>
        <p:spPr>
          <a:xfrm>
            <a:off x="11683234" y="1300751"/>
            <a:ext cx="0" cy="1014919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19F241A2-C3FB-491C-BD6C-31600A39FFFB}"/>
              </a:ext>
            </a:extLst>
          </p:cNvPr>
          <p:cNvSpPr/>
          <p:nvPr/>
        </p:nvSpPr>
        <p:spPr>
          <a:xfrm>
            <a:off x="1424281" y="1376502"/>
            <a:ext cx="10671375" cy="914400"/>
          </a:xfrm>
          <a:prstGeom prst="roundRect">
            <a:avLst/>
          </a:prstGeom>
          <a:ln w="19050">
            <a:solidFill>
              <a:srgbClr val="F5F1E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D13FCE3E-9F18-ECA5-3458-0F7291A7AF47}"/>
              </a:ext>
            </a:extLst>
          </p:cNvPr>
          <p:cNvSpPr/>
          <p:nvPr/>
        </p:nvSpPr>
        <p:spPr>
          <a:xfrm>
            <a:off x="1424279" y="2370156"/>
            <a:ext cx="10665477" cy="1099919"/>
          </a:xfrm>
          <a:prstGeom prst="roundRect">
            <a:avLst/>
          </a:prstGeom>
          <a:solidFill>
            <a:srgbClr val="F5F1EA"/>
          </a:solidFill>
          <a:ln w="19050">
            <a:solidFill>
              <a:srgbClr val="25485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ADF308BE-BFF2-E076-488F-44DA7D72E3EC}"/>
              </a:ext>
            </a:extLst>
          </p:cNvPr>
          <p:cNvSpPr/>
          <p:nvPr/>
        </p:nvSpPr>
        <p:spPr>
          <a:xfrm>
            <a:off x="1424280" y="4008355"/>
            <a:ext cx="5831160" cy="914400"/>
          </a:xfrm>
          <a:prstGeom prst="roundRect">
            <a:avLst/>
          </a:prstGeom>
          <a:ln w="19050">
            <a:solidFill>
              <a:srgbClr val="F5F1E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B4C35BC3-9787-5502-3565-689430657565}"/>
              </a:ext>
            </a:extLst>
          </p:cNvPr>
          <p:cNvSpPr/>
          <p:nvPr/>
        </p:nvSpPr>
        <p:spPr>
          <a:xfrm>
            <a:off x="1424277" y="5002009"/>
            <a:ext cx="5831161" cy="1099919"/>
          </a:xfrm>
          <a:prstGeom prst="roundRect">
            <a:avLst/>
          </a:prstGeom>
          <a:solidFill>
            <a:srgbClr val="F5F1EA"/>
          </a:solidFill>
          <a:ln w="19050">
            <a:solidFill>
              <a:srgbClr val="25485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DD55CD80-05C6-71C5-8C0D-241F78C62A8F}"/>
              </a:ext>
            </a:extLst>
          </p:cNvPr>
          <p:cNvSpPr/>
          <p:nvPr/>
        </p:nvSpPr>
        <p:spPr>
          <a:xfrm>
            <a:off x="80286" y="1368568"/>
            <a:ext cx="1190626" cy="914400"/>
          </a:xfrm>
          <a:prstGeom prst="roundRect">
            <a:avLst/>
          </a:prstGeom>
          <a:ln w="19050">
            <a:solidFill>
              <a:srgbClr val="F5F1E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Smoove</a:t>
            </a: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466B03BE-36E4-DA3D-2FB9-A6F7991C03AE}"/>
              </a:ext>
            </a:extLst>
          </p:cNvPr>
          <p:cNvSpPr/>
          <p:nvPr/>
        </p:nvSpPr>
        <p:spPr>
          <a:xfrm>
            <a:off x="80286" y="3987090"/>
            <a:ext cx="1190626" cy="914400"/>
          </a:xfrm>
          <a:prstGeom prst="roundRect">
            <a:avLst/>
          </a:prstGeom>
          <a:ln w="19050">
            <a:solidFill>
              <a:srgbClr val="F5F1E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Smoove</a:t>
            </a: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3593A586-8AF1-B2FB-EB17-96EDB760472E}"/>
              </a:ext>
            </a:extLst>
          </p:cNvPr>
          <p:cNvSpPr/>
          <p:nvPr/>
        </p:nvSpPr>
        <p:spPr>
          <a:xfrm>
            <a:off x="80285" y="2391421"/>
            <a:ext cx="1190626" cy="1099919"/>
          </a:xfrm>
          <a:prstGeom prst="roundRect">
            <a:avLst/>
          </a:prstGeom>
          <a:solidFill>
            <a:srgbClr val="F5F1EA"/>
          </a:solidFill>
          <a:ln w="19050">
            <a:solidFill>
              <a:srgbClr val="25485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Amy</a:t>
            </a:r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802815CB-7727-CD8F-893F-785620921651}"/>
              </a:ext>
            </a:extLst>
          </p:cNvPr>
          <p:cNvSpPr/>
          <p:nvPr/>
        </p:nvSpPr>
        <p:spPr>
          <a:xfrm>
            <a:off x="80285" y="5002008"/>
            <a:ext cx="1190626" cy="1099919"/>
          </a:xfrm>
          <a:prstGeom prst="roundRect">
            <a:avLst/>
          </a:prstGeom>
          <a:solidFill>
            <a:srgbClr val="F5F1EA"/>
          </a:solidFill>
          <a:ln w="19050">
            <a:solidFill>
              <a:srgbClr val="25485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Amy</a:t>
            </a:r>
          </a:p>
        </p:txBody>
      </p:sp>
      <p:sp>
        <p:nvSpPr>
          <p:cNvPr id="119" name="ZoneTexte 19">
            <a:extLst>
              <a:ext uri="{FF2B5EF4-FFF2-40B4-BE49-F238E27FC236}">
                <a16:creationId xmlns:a16="http://schemas.microsoft.com/office/drawing/2014/main" id="{49C5AC88-5DDA-86ED-F241-9F94451B8514}"/>
              </a:ext>
            </a:extLst>
          </p:cNvPr>
          <p:cNvSpPr txBox="1"/>
          <p:nvPr/>
        </p:nvSpPr>
        <p:spPr>
          <a:xfrm>
            <a:off x="3137182" y="3218785"/>
            <a:ext cx="21368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Amy 1 io</a:t>
            </a:r>
          </a:p>
        </p:txBody>
      </p:sp>
      <p:sp>
        <p:nvSpPr>
          <p:cNvPr id="174" name="ZoneTexte 173">
            <a:extLst>
              <a:ext uri="{FF2B5EF4-FFF2-40B4-BE49-F238E27FC236}">
                <a16:creationId xmlns:a16="http://schemas.microsoft.com/office/drawing/2014/main" id="{5D88C9BA-58A9-1E1C-B93B-3F9FB988EEB6}"/>
              </a:ext>
            </a:extLst>
          </p:cNvPr>
          <p:cNvSpPr txBox="1"/>
          <p:nvPr/>
        </p:nvSpPr>
        <p:spPr>
          <a:xfrm>
            <a:off x="3750947" y="2077834"/>
            <a:ext cx="111721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Smoove</a:t>
            </a: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 Origin </a:t>
            </a: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io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mfy Sans" panose="020B0604020202020204" charset="0"/>
              <a:ea typeface="+mn-ea"/>
              <a:cs typeface="Biome Light" panose="020B0303030204020804" pitchFamily="34" charset="0"/>
              <a:sym typeface="Arial"/>
            </a:endParaRPr>
          </a:p>
        </p:txBody>
      </p:sp>
      <p:pic>
        <p:nvPicPr>
          <p:cNvPr id="175" name="Image 174">
            <a:extLst>
              <a:ext uri="{FF2B5EF4-FFF2-40B4-BE49-F238E27FC236}">
                <a16:creationId xmlns:a16="http://schemas.microsoft.com/office/drawing/2014/main" id="{DCC62D07-F064-7E44-3B1A-127EF4ACD1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8457" y="1469108"/>
            <a:ext cx="607389" cy="607389"/>
          </a:xfrm>
          <a:prstGeom prst="rect">
            <a:avLst/>
          </a:prstGeom>
        </p:spPr>
      </p:pic>
      <p:grpSp>
        <p:nvGrpSpPr>
          <p:cNvPr id="176" name="Groupe 175">
            <a:extLst>
              <a:ext uri="{FF2B5EF4-FFF2-40B4-BE49-F238E27FC236}">
                <a16:creationId xmlns:a16="http://schemas.microsoft.com/office/drawing/2014/main" id="{D9F44718-E471-F9B8-A457-A6035BB74F2D}"/>
              </a:ext>
            </a:extLst>
          </p:cNvPr>
          <p:cNvGrpSpPr/>
          <p:nvPr/>
        </p:nvGrpSpPr>
        <p:grpSpPr>
          <a:xfrm>
            <a:off x="3911719" y="2471948"/>
            <a:ext cx="720862" cy="695100"/>
            <a:chOff x="2152398" y="2789818"/>
            <a:chExt cx="720862" cy="6951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177" name="Image 176" descr="Une image contenant miroir&#10;&#10;Description générée automatiquement">
              <a:extLst>
                <a:ext uri="{FF2B5EF4-FFF2-40B4-BE49-F238E27FC236}">
                  <a16:creationId xmlns:a16="http://schemas.microsoft.com/office/drawing/2014/main" id="{234C7FDF-66CF-1792-7FF4-3D770FA8D3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410" t="19580" r="28535" b="18558"/>
            <a:stretch/>
          </p:blipFill>
          <p:spPr>
            <a:xfrm>
              <a:off x="2152398" y="2789818"/>
              <a:ext cx="720862" cy="695100"/>
            </a:xfrm>
            <a:prstGeom prst="rect">
              <a:avLst/>
            </a:prstGeom>
          </p:spPr>
        </p:pic>
        <p:pic>
          <p:nvPicPr>
            <p:cNvPr id="178" name="Image 177">
              <a:extLst>
                <a:ext uri="{FF2B5EF4-FFF2-40B4-BE49-F238E27FC236}">
                  <a16:creationId xmlns:a16="http://schemas.microsoft.com/office/drawing/2014/main" id="{C1C859A6-ECC3-CD3E-9DBC-04FECDF71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2306" t="7068" r="11032" b="13243"/>
            <a:stretch/>
          </p:blipFill>
          <p:spPr>
            <a:xfrm>
              <a:off x="2205920" y="2821335"/>
              <a:ext cx="623853" cy="633320"/>
            </a:xfrm>
            <a:prstGeom prst="ellipse">
              <a:avLst/>
            </a:prstGeom>
          </p:spPr>
        </p:pic>
      </p:grpSp>
      <p:sp>
        <p:nvSpPr>
          <p:cNvPr id="179" name="ZoneTexte 15">
            <a:extLst>
              <a:ext uri="{FF2B5EF4-FFF2-40B4-BE49-F238E27FC236}">
                <a16:creationId xmlns:a16="http://schemas.microsoft.com/office/drawing/2014/main" id="{DDDFF8D9-EAAA-0668-30FD-3299EDA05032}"/>
              </a:ext>
            </a:extLst>
          </p:cNvPr>
          <p:cNvSpPr txBox="1"/>
          <p:nvPr/>
        </p:nvSpPr>
        <p:spPr>
          <a:xfrm>
            <a:off x="6425245" y="3248128"/>
            <a:ext cx="12282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Amy 1 Modes </a:t>
            </a: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io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Somfy Sans" panose="020B0604020202020204" charset="0"/>
              <a:ea typeface="+mn-ea"/>
              <a:cs typeface="Biome" panose="020B0503030204020804" pitchFamily="34" charset="0"/>
              <a:sym typeface="Arial"/>
            </a:endParaRPr>
          </a:p>
        </p:txBody>
      </p:sp>
      <p:sp>
        <p:nvSpPr>
          <p:cNvPr id="180" name="ZoneTexte 17">
            <a:extLst>
              <a:ext uri="{FF2B5EF4-FFF2-40B4-BE49-F238E27FC236}">
                <a16:creationId xmlns:a16="http://schemas.microsoft.com/office/drawing/2014/main" id="{162394DC-2D34-4413-C0AC-4EC6E28790F9}"/>
              </a:ext>
            </a:extLst>
          </p:cNvPr>
          <p:cNvSpPr txBox="1"/>
          <p:nvPr/>
        </p:nvSpPr>
        <p:spPr>
          <a:xfrm>
            <a:off x="6411471" y="1877867"/>
            <a:ext cx="11499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Smoove Sensitif io</a:t>
            </a:r>
          </a:p>
        </p:txBody>
      </p:sp>
      <p:sp>
        <p:nvSpPr>
          <p:cNvPr id="181" name="ZoneTexte 18">
            <a:extLst>
              <a:ext uri="{FF2B5EF4-FFF2-40B4-BE49-F238E27FC236}">
                <a16:creationId xmlns:a16="http://schemas.microsoft.com/office/drawing/2014/main" id="{0833DFE4-6C7E-DA22-1382-81B6FEB557E7}"/>
              </a:ext>
            </a:extLst>
          </p:cNvPr>
          <p:cNvSpPr txBox="1"/>
          <p:nvPr/>
        </p:nvSpPr>
        <p:spPr>
          <a:xfrm>
            <a:off x="7401903" y="2086567"/>
            <a:ext cx="12824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Smoove O/C io</a:t>
            </a:r>
          </a:p>
        </p:txBody>
      </p:sp>
      <p:pic>
        <p:nvPicPr>
          <p:cNvPr id="182" name="Image 181" descr="Une image contenant pièce&#10;&#10;Description générée automatiquement">
            <a:extLst>
              <a:ext uri="{FF2B5EF4-FFF2-40B4-BE49-F238E27FC236}">
                <a16:creationId xmlns:a16="http://schemas.microsoft.com/office/drawing/2014/main" id="{A1E94514-3DF4-DE7C-292D-DDF51FA9C8A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6" t="2038" r="2227" b="51565"/>
          <a:stretch/>
        </p:blipFill>
        <p:spPr>
          <a:xfrm>
            <a:off x="6713878" y="1477496"/>
            <a:ext cx="867732" cy="414439"/>
          </a:xfrm>
          <a:prstGeom prst="rect">
            <a:avLst/>
          </a:prstGeom>
        </p:spPr>
      </p:pic>
      <p:pic>
        <p:nvPicPr>
          <p:cNvPr id="183" name="Picture 2">
            <a:extLst>
              <a:ext uri="{FF2B5EF4-FFF2-40B4-BE49-F238E27FC236}">
                <a16:creationId xmlns:a16="http://schemas.microsoft.com/office/drawing/2014/main" id="{89EA5950-B9C6-E1C3-48EA-1929656494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6" t="2547" r="3109" b="2666"/>
          <a:stretch/>
        </p:blipFill>
        <p:spPr bwMode="auto">
          <a:xfrm>
            <a:off x="5801411" y="1674653"/>
            <a:ext cx="410400" cy="417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4" name="ZoneTexte 183">
            <a:extLst>
              <a:ext uri="{FF2B5EF4-FFF2-40B4-BE49-F238E27FC236}">
                <a16:creationId xmlns:a16="http://schemas.microsoft.com/office/drawing/2014/main" id="{0E945C6D-FE2F-E6D7-9D2F-43C276250949}"/>
              </a:ext>
            </a:extLst>
          </p:cNvPr>
          <p:cNvSpPr txBox="1"/>
          <p:nvPr/>
        </p:nvSpPr>
        <p:spPr>
          <a:xfrm>
            <a:off x="5515727" y="2062953"/>
            <a:ext cx="128245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Smoove </a:t>
            </a: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lighting</a:t>
            </a: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 io</a:t>
            </a:r>
          </a:p>
        </p:txBody>
      </p:sp>
      <p:pic>
        <p:nvPicPr>
          <p:cNvPr id="185" name="Image 184">
            <a:extLst>
              <a:ext uri="{FF2B5EF4-FFF2-40B4-BE49-F238E27FC236}">
                <a16:creationId xmlns:a16="http://schemas.microsoft.com/office/drawing/2014/main" id="{BC30E0BE-61DB-E055-5FEB-1766ACE8AC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056" t="4724" r="3711" b="5027"/>
          <a:stretch/>
        </p:blipFill>
        <p:spPr>
          <a:xfrm>
            <a:off x="7682928" y="1689620"/>
            <a:ext cx="408064" cy="410400"/>
          </a:xfrm>
          <a:prstGeom prst="rect">
            <a:avLst/>
          </a:prstGeom>
        </p:spPr>
      </p:pic>
      <p:pic>
        <p:nvPicPr>
          <p:cNvPr id="186" name="Image 185" descr="Une image contenant pièce&#10;&#10;Description générée automatiquement">
            <a:extLst>
              <a:ext uri="{FF2B5EF4-FFF2-40B4-BE49-F238E27FC236}">
                <a16:creationId xmlns:a16="http://schemas.microsoft.com/office/drawing/2014/main" id="{540E394D-3902-608F-03EB-25292421106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07" t="50321" r="26179" b="3283"/>
          <a:stretch/>
        </p:blipFill>
        <p:spPr>
          <a:xfrm>
            <a:off x="6287658" y="1481103"/>
            <a:ext cx="419674" cy="419483"/>
          </a:xfrm>
          <a:prstGeom prst="rect">
            <a:avLst/>
          </a:prstGeom>
        </p:spPr>
      </p:pic>
      <p:grpSp>
        <p:nvGrpSpPr>
          <p:cNvPr id="187" name="Groupe 186">
            <a:extLst>
              <a:ext uri="{FF2B5EF4-FFF2-40B4-BE49-F238E27FC236}">
                <a16:creationId xmlns:a16="http://schemas.microsoft.com/office/drawing/2014/main" id="{BC6BF4A1-3CF4-42FB-6FBD-F325F31EC0EE}"/>
              </a:ext>
            </a:extLst>
          </p:cNvPr>
          <p:cNvGrpSpPr/>
          <p:nvPr/>
        </p:nvGrpSpPr>
        <p:grpSpPr>
          <a:xfrm>
            <a:off x="6707332" y="2476495"/>
            <a:ext cx="712030" cy="686584"/>
            <a:chOff x="2152398" y="2789818"/>
            <a:chExt cx="720862" cy="6951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188" name="Image 187" descr="Une image contenant miroir&#10;&#10;Description générée automatiquement">
              <a:extLst>
                <a:ext uri="{FF2B5EF4-FFF2-40B4-BE49-F238E27FC236}">
                  <a16:creationId xmlns:a16="http://schemas.microsoft.com/office/drawing/2014/main" id="{967A99A3-BC71-87A4-CB9E-2A44766C7F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410" t="19580" r="28535" b="18558"/>
            <a:stretch/>
          </p:blipFill>
          <p:spPr>
            <a:xfrm>
              <a:off x="2152398" y="2789818"/>
              <a:ext cx="720862" cy="695100"/>
            </a:xfrm>
            <a:prstGeom prst="rect">
              <a:avLst/>
            </a:prstGeom>
          </p:spPr>
        </p:pic>
        <p:pic>
          <p:nvPicPr>
            <p:cNvPr id="189" name="Image 188">
              <a:extLst>
                <a:ext uri="{FF2B5EF4-FFF2-40B4-BE49-F238E27FC236}">
                  <a16:creationId xmlns:a16="http://schemas.microsoft.com/office/drawing/2014/main" id="{E612133B-259F-B7D8-5B59-C200C84DF6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2306" t="7068" r="11032" b="13243"/>
            <a:stretch/>
          </p:blipFill>
          <p:spPr>
            <a:xfrm>
              <a:off x="2205919" y="2821335"/>
              <a:ext cx="623853" cy="633320"/>
            </a:xfrm>
            <a:prstGeom prst="ellipse">
              <a:avLst/>
            </a:prstGeom>
          </p:spPr>
        </p:pic>
      </p:grpSp>
      <p:pic>
        <p:nvPicPr>
          <p:cNvPr id="194" name="Picture 6" descr="Émetteur mural radio sensitif Smoove RS100 io">
            <a:extLst>
              <a:ext uri="{FF2B5EF4-FFF2-40B4-BE49-F238E27FC236}">
                <a16:creationId xmlns:a16="http://schemas.microsoft.com/office/drawing/2014/main" id="{AAE2E83B-E900-B574-638A-7C7316C6A5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12" t="12330" r="12301" b="12694"/>
          <a:stretch/>
        </p:blipFill>
        <p:spPr bwMode="auto">
          <a:xfrm>
            <a:off x="10131353" y="1461495"/>
            <a:ext cx="576064" cy="548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5" name="Image 194" descr="Une image contenant mètre, horloge&#10;&#10;Description générée automatiquement">
            <a:extLst>
              <a:ext uri="{FF2B5EF4-FFF2-40B4-BE49-F238E27FC236}">
                <a16:creationId xmlns:a16="http://schemas.microsoft.com/office/drawing/2014/main" id="{4C642927-BE7E-7F53-3166-DC1ACE5812C3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92" t="15142" r="14407" b="12920"/>
          <a:stretch/>
        </p:blipFill>
        <p:spPr>
          <a:xfrm>
            <a:off x="9907428" y="1623862"/>
            <a:ext cx="324037" cy="290874"/>
          </a:xfrm>
          <a:prstGeom prst="rect">
            <a:avLst/>
          </a:prstGeom>
        </p:spPr>
      </p:pic>
      <p:pic>
        <p:nvPicPr>
          <p:cNvPr id="196" name="Image 195">
            <a:extLst>
              <a:ext uri="{FF2B5EF4-FFF2-40B4-BE49-F238E27FC236}">
                <a16:creationId xmlns:a16="http://schemas.microsoft.com/office/drawing/2014/main" id="{68DB5FEF-102A-4356-7CD1-7B1994FCB622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42" t="26859" r="31636" b="33501"/>
          <a:stretch/>
        </p:blipFill>
        <p:spPr>
          <a:xfrm>
            <a:off x="10603606" y="1601061"/>
            <a:ext cx="359315" cy="290874"/>
          </a:xfrm>
          <a:prstGeom prst="rect">
            <a:avLst/>
          </a:prstGeom>
        </p:spPr>
      </p:pic>
      <p:sp>
        <p:nvSpPr>
          <p:cNvPr id="197" name="ZoneTexte 37">
            <a:extLst>
              <a:ext uri="{FF2B5EF4-FFF2-40B4-BE49-F238E27FC236}">
                <a16:creationId xmlns:a16="http://schemas.microsoft.com/office/drawing/2014/main" id="{082B2104-CEC5-FD7F-D754-15BEE4A35DB9}"/>
              </a:ext>
            </a:extLst>
          </p:cNvPr>
          <p:cNvSpPr txBox="1"/>
          <p:nvPr/>
        </p:nvSpPr>
        <p:spPr>
          <a:xfrm>
            <a:off x="9963443" y="2062861"/>
            <a:ext cx="17149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Smoove RS100 io </a:t>
            </a:r>
          </a:p>
        </p:txBody>
      </p:sp>
      <p:pic>
        <p:nvPicPr>
          <p:cNvPr id="199" name="Picture 4">
            <a:extLst>
              <a:ext uri="{FF2B5EF4-FFF2-40B4-BE49-F238E27FC236}">
                <a16:creationId xmlns:a16="http://schemas.microsoft.com/office/drawing/2014/main" id="{83812AA7-1993-E5A4-5147-F804DAE1D765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65843" t="4417" r="22857" b="66374"/>
          <a:stretch/>
        </p:blipFill>
        <p:spPr>
          <a:xfrm>
            <a:off x="10088609" y="2485063"/>
            <a:ext cx="720347" cy="72963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0" name="ZoneTexte 19">
            <a:extLst>
              <a:ext uri="{FF2B5EF4-FFF2-40B4-BE49-F238E27FC236}">
                <a16:creationId xmlns:a16="http://schemas.microsoft.com/office/drawing/2014/main" id="{A2F49E97-CAF3-281C-D0A7-4ABFB153EFC2}"/>
              </a:ext>
            </a:extLst>
          </p:cNvPr>
          <p:cNvSpPr txBox="1"/>
          <p:nvPr/>
        </p:nvSpPr>
        <p:spPr>
          <a:xfrm>
            <a:off x="9335390" y="3233747"/>
            <a:ext cx="21368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Amy 1 RS100 </a:t>
            </a: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io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Somfy Sans" panose="020B0604020202020204" charset="0"/>
              <a:ea typeface="+mn-ea"/>
              <a:cs typeface="Biome" panose="020B0503030204020804" pitchFamily="34" charset="0"/>
              <a:sym typeface="Arial"/>
            </a:endParaRPr>
          </a:p>
        </p:txBody>
      </p:sp>
      <p:pic>
        <p:nvPicPr>
          <p:cNvPr id="12" name="Picture 8" descr="SCENARIO PLAYER FOR TAHOMA - Wall control box for Somfy Automation">
            <a:extLst>
              <a:ext uri="{FF2B5EF4-FFF2-40B4-BE49-F238E27FC236}">
                <a16:creationId xmlns:a16="http://schemas.microsoft.com/office/drawing/2014/main" id="{572371D6-F4CD-40B8-17CE-7F42A3C51F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36" t="7743" r="9171" b="7602"/>
          <a:stretch/>
        </p:blipFill>
        <p:spPr bwMode="auto">
          <a:xfrm>
            <a:off x="4050982" y="4163567"/>
            <a:ext cx="498342" cy="546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ZoneTexte 39">
            <a:extLst>
              <a:ext uri="{FF2B5EF4-FFF2-40B4-BE49-F238E27FC236}">
                <a16:creationId xmlns:a16="http://schemas.microsoft.com/office/drawing/2014/main" id="{1240BF47-3F99-71E7-4206-BD49397A331D}"/>
              </a:ext>
            </a:extLst>
          </p:cNvPr>
          <p:cNvSpPr txBox="1"/>
          <p:nvPr/>
        </p:nvSpPr>
        <p:spPr>
          <a:xfrm>
            <a:off x="3481556" y="4696080"/>
            <a:ext cx="163719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Smoove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Scene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 launcher</a:t>
            </a:r>
          </a:p>
        </p:txBody>
      </p:sp>
      <p:pic>
        <p:nvPicPr>
          <p:cNvPr id="14" name="Picture 24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FA1AE288-2117-3E70-9538-2961438E7302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44137" y="5190079"/>
            <a:ext cx="712031" cy="71926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ZoneTexte 15">
            <a:extLst>
              <a:ext uri="{FF2B5EF4-FFF2-40B4-BE49-F238E27FC236}">
                <a16:creationId xmlns:a16="http://schemas.microsoft.com/office/drawing/2014/main" id="{822A35C1-984A-2799-C11C-E9679619F8CF}"/>
              </a:ext>
            </a:extLst>
          </p:cNvPr>
          <p:cNvSpPr txBox="1"/>
          <p:nvPr/>
        </p:nvSpPr>
        <p:spPr>
          <a:xfrm>
            <a:off x="3658785" y="5899811"/>
            <a:ext cx="144829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Amy </a:t>
            </a: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Scene</a:t>
            </a: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 Player  io</a:t>
            </a:r>
          </a:p>
        </p:txBody>
      </p:sp>
      <p:sp>
        <p:nvSpPr>
          <p:cNvPr id="18" name="ZoneTexte 18">
            <a:extLst>
              <a:ext uri="{FF2B5EF4-FFF2-40B4-BE49-F238E27FC236}">
                <a16:creationId xmlns:a16="http://schemas.microsoft.com/office/drawing/2014/main" id="{B5D0B99E-FBB7-F6CB-FC4C-F8537E196BEA}"/>
              </a:ext>
            </a:extLst>
          </p:cNvPr>
          <p:cNvSpPr txBox="1"/>
          <p:nvPr/>
        </p:nvSpPr>
        <p:spPr>
          <a:xfrm>
            <a:off x="2123587" y="4746274"/>
            <a:ext cx="9885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Smoove A/M io</a:t>
            </a:r>
          </a:p>
        </p:txBody>
      </p:sp>
      <p:sp>
        <p:nvSpPr>
          <p:cNvPr id="22" name="ZoneTexte 37">
            <a:extLst>
              <a:ext uri="{FF2B5EF4-FFF2-40B4-BE49-F238E27FC236}">
                <a16:creationId xmlns:a16="http://schemas.microsoft.com/office/drawing/2014/main" id="{4229453D-DA0C-C968-45C9-ADFFC12AAA1E}"/>
              </a:ext>
            </a:extLst>
          </p:cNvPr>
          <p:cNvSpPr txBox="1"/>
          <p:nvPr/>
        </p:nvSpPr>
        <p:spPr>
          <a:xfrm>
            <a:off x="5287186" y="4714249"/>
            <a:ext cx="158671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Smoove </a:t>
            </a: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Window</a:t>
            </a: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 Air io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9753D8BF-ADD1-1BA8-C15B-B1D05841078C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15065" t="12936" r="14030" b="10868"/>
          <a:stretch/>
        </p:blipFill>
        <p:spPr>
          <a:xfrm>
            <a:off x="5758241" y="4177297"/>
            <a:ext cx="540200" cy="548062"/>
          </a:xfrm>
          <a:prstGeom prst="rect">
            <a:avLst/>
          </a:prstGeom>
        </p:spPr>
      </p:pic>
      <p:pic>
        <p:nvPicPr>
          <p:cNvPr id="27" name="Picture 6" descr="Somfy Smoove Uno A/M io &gt;&gt;&gt; jetzt mehr erfahren, 107,18 €">
            <a:extLst>
              <a:ext uri="{FF2B5EF4-FFF2-40B4-BE49-F238E27FC236}">
                <a16:creationId xmlns:a16="http://schemas.microsoft.com/office/drawing/2014/main" id="{7CFE779F-F549-3004-DA3F-70C5D7C1CE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54" t="34155" r="52924" b="33623"/>
          <a:stretch/>
        </p:blipFill>
        <p:spPr bwMode="auto">
          <a:xfrm>
            <a:off x="2031853" y="4143086"/>
            <a:ext cx="609225" cy="571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 descr="Somfy Smoove Uno A/M io &gt;&gt;&gt; jetzt mehr erfahren, 107,18 €">
            <a:extLst>
              <a:ext uri="{FF2B5EF4-FFF2-40B4-BE49-F238E27FC236}">
                <a16:creationId xmlns:a16="http://schemas.microsoft.com/office/drawing/2014/main" id="{79376B0B-BAC0-A9BB-2FFD-693FE3AF59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15" t="34285" r="15477" b="33895"/>
          <a:stretch/>
        </p:blipFill>
        <p:spPr bwMode="auto">
          <a:xfrm>
            <a:off x="2659103" y="4135257"/>
            <a:ext cx="597938" cy="578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ZoneTexte 19">
            <a:extLst>
              <a:ext uri="{FF2B5EF4-FFF2-40B4-BE49-F238E27FC236}">
                <a16:creationId xmlns:a16="http://schemas.microsoft.com/office/drawing/2014/main" id="{0A198FFA-2A78-F5F7-9EDE-4B99EDF91BC5}"/>
              </a:ext>
            </a:extLst>
          </p:cNvPr>
          <p:cNvSpPr txBox="1"/>
          <p:nvPr/>
        </p:nvSpPr>
        <p:spPr>
          <a:xfrm>
            <a:off x="1721031" y="5871904"/>
            <a:ext cx="132571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Amy 1 A/M Modes io</a:t>
            </a:r>
          </a:p>
        </p:txBody>
      </p:sp>
      <p:sp>
        <p:nvSpPr>
          <p:cNvPr id="96" name="ZoneTexte 19">
            <a:extLst>
              <a:ext uri="{FF2B5EF4-FFF2-40B4-BE49-F238E27FC236}">
                <a16:creationId xmlns:a16="http://schemas.microsoft.com/office/drawing/2014/main" id="{029BB6BD-2FBF-8EF4-973B-54659B953C20}"/>
              </a:ext>
            </a:extLst>
          </p:cNvPr>
          <p:cNvSpPr txBox="1"/>
          <p:nvPr/>
        </p:nvSpPr>
        <p:spPr>
          <a:xfrm>
            <a:off x="5395600" y="5899811"/>
            <a:ext cx="140340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Amy 1 </a:t>
            </a: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Window</a:t>
            </a: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 SL io</a:t>
            </a:r>
          </a:p>
        </p:txBody>
      </p:sp>
      <p:pic>
        <p:nvPicPr>
          <p:cNvPr id="111" name="Picture 57" descr="Graphical user interface&#10;&#10;Description automatically generated">
            <a:extLst>
              <a:ext uri="{FF2B5EF4-FFF2-40B4-BE49-F238E27FC236}">
                <a16:creationId xmlns:a16="http://schemas.microsoft.com/office/drawing/2014/main" id="{70929DEB-337A-36C1-1A36-24334E4D639B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39259" y="5113305"/>
            <a:ext cx="720501" cy="7202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2" name="Image 121" descr="Une image contenant miroir&#10;&#10;Description générée automatiquement">
            <a:extLst>
              <a:ext uri="{FF2B5EF4-FFF2-40B4-BE49-F238E27FC236}">
                <a16:creationId xmlns:a16="http://schemas.microsoft.com/office/drawing/2014/main" id="{6ED71DA1-5121-C90A-665C-0A4A7ECC154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10" t="19580" r="28535" b="18558"/>
          <a:stretch/>
        </p:blipFill>
        <p:spPr>
          <a:xfrm>
            <a:off x="5643322" y="5165084"/>
            <a:ext cx="720862" cy="6951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8" name="Image 107">
            <a:extLst>
              <a:ext uri="{FF2B5EF4-FFF2-40B4-BE49-F238E27FC236}">
                <a16:creationId xmlns:a16="http://schemas.microsoft.com/office/drawing/2014/main" id="{604BDDC0-A56D-52A7-5B9E-5A2E0ECC50BC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l="12151" t="5032" r="6776" b="14954"/>
          <a:stretch/>
        </p:blipFill>
        <p:spPr>
          <a:xfrm>
            <a:off x="5709608" y="5211788"/>
            <a:ext cx="609554" cy="613798"/>
          </a:xfrm>
          <a:prstGeom prst="ellipse">
            <a:avLst/>
          </a:prstGeom>
        </p:spPr>
      </p:pic>
      <p:pic>
        <p:nvPicPr>
          <p:cNvPr id="105" name="Graphique 104" descr="Thermomètre avec un remplissage uni">
            <a:extLst>
              <a:ext uri="{FF2B5EF4-FFF2-40B4-BE49-F238E27FC236}">
                <a16:creationId xmlns:a16="http://schemas.microsoft.com/office/drawing/2014/main" id="{69F9CFDD-E5F1-C9C3-3630-6D103F7AA27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833219" y="5344748"/>
            <a:ext cx="382671" cy="382671"/>
          </a:xfrm>
          <a:prstGeom prst="rect">
            <a:avLst/>
          </a:prstGeom>
        </p:spPr>
      </p:pic>
      <p:pic>
        <p:nvPicPr>
          <p:cNvPr id="19" name="Picture 2" descr="Smoove Origin 2 RTS + Frame">
            <a:extLst>
              <a:ext uri="{FF2B5EF4-FFF2-40B4-BE49-F238E27FC236}">
                <a16:creationId xmlns:a16="http://schemas.microsoft.com/office/drawing/2014/main" id="{028593F2-09B7-F839-E543-8EC7F642FF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56190" y="4078098"/>
            <a:ext cx="644933" cy="611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Somfy Smoove 4 RTS - Stansons">
            <a:extLst>
              <a:ext uri="{FF2B5EF4-FFF2-40B4-BE49-F238E27FC236}">
                <a16:creationId xmlns:a16="http://schemas.microsoft.com/office/drawing/2014/main" id="{18553CC9-13D8-5491-975E-EB492E7C77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257920" y="4072715"/>
            <a:ext cx="638931" cy="615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6345A13-2280-D318-6F38-0EE24BBB896D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44803" y="5159389"/>
            <a:ext cx="723570" cy="720000"/>
          </a:xfrm>
          <a:prstGeom prst="rect">
            <a:avLst/>
          </a:prstGeom>
        </p:spPr>
      </p:pic>
      <p:pic>
        <p:nvPicPr>
          <p:cNvPr id="26" name="Picture 25" descr="Graphical user interface&#10;&#10;Description automatically generated">
            <a:extLst>
              <a:ext uri="{FF2B5EF4-FFF2-40B4-BE49-F238E27FC236}">
                <a16:creationId xmlns:a16="http://schemas.microsoft.com/office/drawing/2014/main" id="{BDB3A0CD-399D-433F-47C6-2795AF4D00D9}"/>
              </a:ext>
            </a:extLst>
          </p:cNvPr>
          <p:cNvPicPr>
            <a:picLocks noChangeAspect="1"/>
          </p:cNvPicPr>
          <p:nvPr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51841" y="5093328"/>
            <a:ext cx="726485" cy="720000"/>
          </a:xfrm>
          <a:prstGeom prst="rect">
            <a:avLst/>
          </a:prstGeom>
        </p:spPr>
      </p:pic>
      <p:pic>
        <p:nvPicPr>
          <p:cNvPr id="97" name="Graphique 104" descr="Thermomètre avec un remplissage uni">
            <a:extLst>
              <a:ext uri="{FF2B5EF4-FFF2-40B4-BE49-F238E27FC236}">
                <a16:creationId xmlns:a16="http://schemas.microsoft.com/office/drawing/2014/main" id="{2C8A7A47-01B9-F287-8642-F6B1110D6A4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898403" y="2731044"/>
            <a:ext cx="382671" cy="382671"/>
          </a:xfrm>
          <a:prstGeom prst="rect">
            <a:avLst/>
          </a:prstGeom>
        </p:spPr>
      </p:pic>
      <p:pic>
        <p:nvPicPr>
          <p:cNvPr id="98" name="Graphique 104" descr="Thermomètre avec un remplissage uni">
            <a:extLst>
              <a:ext uri="{FF2B5EF4-FFF2-40B4-BE49-F238E27FC236}">
                <a16:creationId xmlns:a16="http://schemas.microsoft.com/office/drawing/2014/main" id="{5A9169C2-4065-D599-791E-F2D8A668BB7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511005" y="2707745"/>
            <a:ext cx="382671" cy="382671"/>
          </a:xfrm>
          <a:prstGeom prst="rect">
            <a:avLst/>
          </a:prstGeom>
        </p:spPr>
      </p:pic>
      <p:pic>
        <p:nvPicPr>
          <p:cNvPr id="101" name="Graphique 104" descr="Thermomètre avec un remplissage uni">
            <a:extLst>
              <a:ext uri="{FF2B5EF4-FFF2-40B4-BE49-F238E27FC236}">
                <a16:creationId xmlns:a16="http://schemas.microsoft.com/office/drawing/2014/main" id="{09CA21EF-0996-DAAD-377B-BFE4FD13732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775785" y="2691961"/>
            <a:ext cx="382671" cy="382671"/>
          </a:xfrm>
          <a:prstGeom prst="rect">
            <a:avLst/>
          </a:prstGeom>
        </p:spPr>
      </p:pic>
      <p:pic>
        <p:nvPicPr>
          <p:cNvPr id="109" name="Graphique 104" descr="Thermomètre avec un remplissage uni">
            <a:extLst>
              <a:ext uri="{FF2B5EF4-FFF2-40B4-BE49-F238E27FC236}">
                <a16:creationId xmlns:a16="http://schemas.microsoft.com/office/drawing/2014/main" id="{C06F4663-E6B6-5CBB-A6C0-8777D951664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712489" y="5369714"/>
            <a:ext cx="382671" cy="382671"/>
          </a:xfrm>
          <a:prstGeom prst="rect">
            <a:avLst/>
          </a:prstGeom>
        </p:spPr>
      </p:pic>
      <p:pic>
        <p:nvPicPr>
          <p:cNvPr id="110" name="Graphique 104" descr="Thermomètre avec un remplissage uni">
            <a:extLst>
              <a:ext uri="{FF2B5EF4-FFF2-40B4-BE49-F238E27FC236}">
                <a16:creationId xmlns:a16="http://schemas.microsoft.com/office/drawing/2014/main" id="{0A29CD07-FD47-034C-5DEA-63B1AAA739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435909" y="5397081"/>
            <a:ext cx="382671" cy="382671"/>
          </a:xfrm>
          <a:prstGeom prst="rect">
            <a:avLst/>
          </a:prstGeom>
        </p:spPr>
      </p:pic>
      <p:sp>
        <p:nvSpPr>
          <p:cNvPr id="124" name="ZoneTexte 39">
            <a:extLst>
              <a:ext uri="{FF2B5EF4-FFF2-40B4-BE49-F238E27FC236}">
                <a16:creationId xmlns:a16="http://schemas.microsoft.com/office/drawing/2014/main" id="{A943D4C3-1595-4696-1178-88B230199604}"/>
              </a:ext>
            </a:extLst>
          </p:cNvPr>
          <p:cNvSpPr txBox="1"/>
          <p:nvPr/>
        </p:nvSpPr>
        <p:spPr>
          <a:xfrm>
            <a:off x="8166180" y="4725359"/>
            <a:ext cx="14529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Smoove 2 channels  io</a:t>
            </a:r>
          </a:p>
        </p:txBody>
      </p:sp>
      <p:sp>
        <p:nvSpPr>
          <p:cNvPr id="126" name="ZoneTexte 39">
            <a:extLst>
              <a:ext uri="{FF2B5EF4-FFF2-40B4-BE49-F238E27FC236}">
                <a16:creationId xmlns:a16="http://schemas.microsoft.com/office/drawing/2014/main" id="{5CB9C4DD-22B7-C0FE-01C7-E0720290DB8E}"/>
              </a:ext>
            </a:extLst>
          </p:cNvPr>
          <p:cNvSpPr txBox="1"/>
          <p:nvPr/>
        </p:nvSpPr>
        <p:spPr>
          <a:xfrm>
            <a:off x="9882597" y="4736026"/>
            <a:ext cx="14529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 Light" panose="020B0303030204020804" pitchFamily="34" charset="0"/>
                <a:sym typeface="Arial"/>
              </a:rPr>
              <a:t>Smoove 4 channels  io</a:t>
            </a:r>
          </a:p>
        </p:txBody>
      </p:sp>
      <p:sp>
        <p:nvSpPr>
          <p:cNvPr id="127" name="ZoneTexte 29">
            <a:extLst>
              <a:ext uri="{FF2B5EF4-FFF2-40B4-BE49-F238E27FC236}">
                <a16:creationId xmlns:a16="http://schemas.microsoft.com/office/drawing/2014/main" id="{8A9E1490-2E22-DBE7-75FF-04B5F929CDCE}"/>
              </a:ext>
            </a:extLst>
          </p:cNvPr>
          <p:cNvSpPr txBox="1"/>
          <p:nvPr/>
        </p:nvSpPr>
        <p:spPr>
          <a:xfrm>
            <a:off x="8182121" y="5828055"/>
            <a:ext cx="126682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Amy 2 Modes io</a:t>
            </a:r>
          </a:p>
        </p:txBody>
      </p:sp>
      <p:sp>
        <p:nvSpPr>
          <p:cNvPr id="160" name="ZoneTexte 29">
            <a:extLst>
              <a:ext uri="{FF2B5EF4-FFF2-40B4-BE49-F238E27FC236}">
                <a16:creationId xmlns:a16="http://schemas.microsoft.com/office/drawing/2014/main" id="{C2A43F66-FD27-4F87-6019-4945584DD9F0}"/>
              </a:ext>
            </a:extLst>
          </p:cNvPr>
          <p:cNvSpPr txBox="1"/>
          <p:nvPr/>
        </p:nvSpPr>
        <p:spPr>
          <a:xfrm>
            <a:off x="9940819" y="5852030"/>
            <a:ext cx="126682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Amy 4 Modes io</a:t>
            </a:r>
          </a:p>
        </p:txBody>
      </p:sp>
      <p:pic>
        <p:nvPicPr>
          <p:cNvPr id="162" name="Graphique 104" descr="Thermomètre avec un remplissage uni">
            <a:extLst>
              <a:ext uri="{FF2B5EF4-FFF2-40B4-BE49-F238E27FC236}">
                <a16:creationId xmlns:a16="http://schemas.microsoft.com/office/drawing/2014/main" id="{1EEDB206-F110-D2A7-5B66-1D4D062E924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068799" y="6301538"/>
            <a:ext cx="382671" cy="382671"/>
          </a:xfrm>
          <a:prstGeom prst="rect">
            <a:avLst/>
          </a:prstGeom>
        </p:spPr>
      </p:pic>
      <p:sp>
        <p:nvSpPr>
          <p:cNvPr id="164" name="ZoneTexte 19">
            <a:extLst>
              <a:ext uri="{FF2B5EF4-FFF2-40B4-BE49-F238E27FC236}">
                <a16:creationId xmlns:a16="http://schemas.microsoft.com/office/drawing/2014/main" id="{6088C433-F8E1-D899-1A0B-43C8694D332C}"/>
              </a:ext>
            </a:extLst>
          </p:cNvPr>
          <p:cNvSpPr txBox="1"/>
          <p:nvPr/>
        </p:nvSpPr>
        <p:spPr>
          <a:xfrm>
            <a:off x="4260134" y="6284996"/>
            <a:ext cx="213686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All Amy 1 </a:t>
            </a: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channel</a:t>
            </a: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 io </a:t>
            </a: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embeds</a:t>
            </a: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 an </a:t>
            </a: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FFD663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indoor </a:t>
            </a: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FFD663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temperature</a:t>
            </a: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FFD663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 </a:t>
            </a: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FFD663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sensor</a:t>
            </a: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FFD663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 </a:t>
            </a: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working</a:t>
            </a: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 </a:t>
            </a: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with</a:t>
            </a:r>
            <a:r>
              <a: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anose="020B0604020202020204" charset="0"/>
                <a:ea typeface="+mn-ea"/>
                <a:cs typeface="Biome" panose="020B0503030204020804" pitchFamily="34" charset="0"/>
                <a:sym typeface="Arial"/>
              </a:rPr>
              <a:t> TaHoma®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DBA103"/>
              </a:solidFill>
              <a:effectLst/>
              <a:uLnTx/>
              <a:uFillTx/>
              <a:latin typeface="Somfy Sans" panose="020B0604020202020204" charset="0"/>
              <a:ea typeface="+mn-ea"/>
              <a:cs typeface="Biome" panose="020B0503030204020804" pitchFamily="34" charset="0"/>
              <a:sym typeface="Arial"/>
            </a:endParaRPr>
          </a:p>
        </p:txBody>
      </p:sp>
      <p:pic>
        <p:nvPicPr>
          <p:cNvPr id="32" name="Graphic 31" descr="Badge Cross with solid fill">
            <a:extLst>
              <a:ext uri="{FF2B5EF4-FFF2-40B4-BE49-F238E27FC236}">
                <a16:creationId xmlns:a16="http://schemas.microsoft.com/office/drawing/2014/main" id="{25FDC289-E05B-A993-5BB6-BAF42FA2D93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561650" y="5054918"/>
            <a:ext cx="914400" cy="914400"/>
          </a:xfrm>
          <a:prstGeom prst="rect">
            <a:avLst/>
          </a:prstGeom>
        </p:spPr>
      </p:pic>
      <p:sp>
        <p:nvSpPr>
          <p:cNvPr id="6" name="Titre 1">
            <a:extLst>
              <a:ext uri="{FF2B5EF4-FFF2-40B4-BE49-F238E27FC236}">
                <a16:creationId xmlns:a16="http://schemas.microsoft.com/office/drawing/2014/main" id="{A16A85E1-B398-862A-0601-C33617B260EB}"/>
              </a:ext>
            </a:extLst>
          </p:cNvPr>
          <p:cNvSpPr txBox="1">
            <a:spLocks/>
          </p:cNvSpPr>
          <p:nvPr/>
        </p:nvSpPr>
        <p:spPr>
          <a:xfrm rot="5400000">
            <a:off x="1473008" y="-1300118"/>
            <a:ext cx="990985" cy="3937003"/>
          </a:xfrm>
          <a:prstGeom prst="round2SameRect">
            <a:avLst>
              <a:gd name="adj1" fmla="val 48876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000" b="1" i="0" u="none" strike="noStrike" kern="1200" cap="none" spc="0" normalizeH="0" baseline="0" noProof="0">
                <a:ln>
                  <a:noFill/>
                </a:ln>
                <a:solidFill>
                  <a:srgbClr val="485C74"/>
                </a:solidFill>
                <a:effectLst/>
                <a:uLnTx/>
                <a:uFillTx/>
                <a:ea typeface="+mj-ea"/>
                <a:cs typeface="Calibri Light" panose="020F0302020204030204" pitchFamily="34" charset="0"/>
              </a:rPr>
              <a:t>Comparison</a:t>
            </a:r>
            <a:endParaRPr kumimoji="0" lang="fr-FR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mfy Sans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9388503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884305D-CDE6-CE46-E3F8-1B8F743E2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37F0C63-9D9F-2642-9BE6-825938832B4F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25485A"/>
                </a:solidFill>
                <a:effectLst/>
                <a:uLnTx/>
                <a:uFillTx/>
                <a:latin typeface="Somfy Sans" pitchFamily="2" charset="0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25485A"/>
              </a:solidFill>
              <a:effectLst/>
              <a:uLnTx/>
              <a:uFillTx/>
              <a:latin typeface="Somfy Sans" pitchFamily="2" charset="0"/>
              <a:ea typeface="+mn-ea"/>
              <a:cs typeface="Arial"/>
              <a:sym typeface="Arial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D0FCA73-1F2D-4DC3-051C-BBCE21CB8E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7284389"/>
              </p:ext>
            </p:extLst>
          </p:nvPr>
        </p:nvGraphicFramePr>
        <p:xfrm>
          <a:off x="1867852" y="1608588"/>
          <a:ext cx="9324404" cy="44063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97901">
                  <a:extLst>
                    <a:ext uri="{9D8B030D-6E8A-4147-A177-3AD203B41FA5}">
                      <a16:colId xmlns:a16="http://schemas.microsoft.com/office/drawing/2014/main" val="2113321150"/>
                    </a:ext>
                  </a:extLst>
                </a:gridCol>
                <a:gridCol w="4240887">
                  <a:extLst>
                    <a:ext uri="{9D8B030D-6E8A-4147-A177-3AD203B41FA5}">
                      <a16:colId xmlns:a16="http://schemas.microsoft.com/office/drawing/2014/main" val="1917343276"/>
                    </a:ext>
                  </a:extLst>
                </a:gridCol>
                <a:gridCol w="1133856">
                  <a:extLst>
                    <a:ext uri="{9D8B030D-6E8A-4147-A177-3AD203B41FA5}">
                      <a16:colId xmlns:a16="http://schemas.microsoft.com/office/drawing/2014/main" val="1602819178"/>
                    </a:ext>
                  </a:extLst>
                </a:gridCol>
                <a:gridCol w="2651760">
                  <a:extLst>
                    <a:ext uri="{9D8B030D-6E8A-4147-A177-3AD203B41FA5}">
                      <a16:colId xmlns:a16="http://schemas.microsoft.com/office/drawing/2014/main" val="3386416775"/>
                    </a:ext>
                  </a:extLst>
                </a:gridCol>
              </a:tblGrid>
              <a:tr h="27153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Ref numbe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000" u="none" strike="noStrike" dirty="0">
                          <a:effectLst/>
                        </a:rPr>
                        <a:t>Long Designation ( MDM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OLD ref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Smoove descriptio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3640213896"/>
                  </a:ext>
                </a:extLst>
              </a:tr>
              <a:tr h="245740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187105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 dirty="0">
                          <a:effectLst/>
                        </a:rPr>
                        <a:t>Amy 1 Channel </a:t>
                      </a:r>
                      <a:r>
                        <a:rPr lang="fr-FR" sz="1000" u="none" strike="noStrike" dirty="0" err="1">
                          <a:effectLst/>
                        </a:rPr>
                        <a:t>io</a:t>
                      </a:r>
                      <a:r>
                        <a:rPr lang="fr-FR" sz="1000" u="none" strike="noStrike" dirty="0">
                          <a:effectLst/>
                        </a:rPr>
                        <a:t> B (RU RO SL CR EN PL CS HU) Pack 84</a:t>
                      </a:r>
                      <a:endParaRPr lang="fr-FR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1154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effectLst/>
                        </a:rPr>
                        <a:t>SMOOVE ORIGIN IO PURE PACK 84 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2171376670"/>
                  </a:ext>
                </a:extLst>
              </a:tr>
              <a:tr h="245740">
                <a:tc rowSpan="5"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187105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b"/>
                </a:tc>
                <a:tc rowSpan="5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Amy 1 Channel io + Frame B (RU RO SL CR EN PL CS HU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1109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effectLst/>
                        </a:rPr>
                        <a:t>SMOOVE 1 O/C IO BLACK SHINE   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2127096810"/>
                  </a:ext>
                </a:extLst>
              </a:tr>
              <a:tr h="1357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1106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SMOOVE ORIGIN IO BLANC   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4047810521"/>
                  </a:ext>
                </a:extLst>
              </a:tr>
              <a:tr h="1357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 dirty="0">
                          <a:effectLst/>
                          <a:latin typeface="Calibri"/>
                        </a:rPr>
                        <a:t>1811089</a:t>
                      </a:r>
                      <a:endParaRPr lang="en-US" dirty="0"/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effectLst/>
                        </a:rPr>
                        <a:t>SMOOVE 1 O/C IO PURE SHINE    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3507176430"/>
                  </a:ext>
                </a:extLst>
              </a:tr>
              <a:tr h="1357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2265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SMOOVE LIGHTING IO           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990680706"/>
                  </a:ext>
                </a:extLst>
              </a:tr>
              <a:tr h="2457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1109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effectLst/>
                        </a:rPr>
                        <a:t>SMOOVE 1 IN IO PURE BRILLANT  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3140782198"/>
                  </a:ext>
                </a:extLst>
              </a:tr>
              <a:tr h="2070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187106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Amy Scene Player io B (RU RO SL CR EN PL CS HU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2403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SCENARIO PLAYER FOR TAHOMA   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4217381733"/>
                  </a:ext>
                </a:extLst>
              </a:tr>
              <a:tr h="135768">
                <a:tc rowSpan="4"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187107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b"/>
                </a:tc>
                <a:tc rowSpan="4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Amy 1 Channel 1to4Modes io + Frame B (RU RO SL CR EN PL CS HU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 dirty="0">
                          <a:effectLst/>
                          <a:latin typeface="Calibri"/>
                        </a:rPr>
                        <a:t>1811003</a:t>
                      </a:r>
                      <a:endParaRPr lang="en-US" dirty="0"/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SMOOVE 1 IO BLANC   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947099866"/>
                  </a:ext>
                </a:extLst>
              </a:tr>
              <a:tr h="1357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1100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SMOOVE 1 IO NOIR    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2138509267"/>
                  </a:ext>
                </a:extLst>
              </a:tr>
              <a:tr h="1357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1100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SMOOVE 1 IO ACIER   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1341463798"/>
                  </a:ext>
                </a:extLst>
              </a:tr>
              <a:tr h="1357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2265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SMOOVE LIGHTING IO           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1485199633"/>
                  </a:ext>
                </a:extLst>
              </a:tr>
              <a:tr h="135768">
                <a:tc rowSpan="3"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187108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b"/>
                </a:tc>
                <a:tc rowSpan="3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Amy 1 Channel Auto/Manu 1to4Modes io + Frame B (RU RO SL CR EN PL CS HU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1101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effectLst/>
                        </a:rPr>
                        <a:t>SMOOVE 1 A/M IO BLANC  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3081903243"/>
                  </a:ext>
                </a:extLst>
              </a:tr>
              <a:tr h="1357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1101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effectLst/>
                        </a:rPr>
                        <a:t>SMOOVE 1 A/M IO ACIER  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2139356011"/>
                  </a:ext>
                </a:extLst>
              </a:tr>
              <a:tr h="1357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11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effectLst/>
                        </a:rPr>
                        <a:t>SMOOVE 1 A/M IO NOIR   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3420064416"/>
                  </a:ext>
                </a:extLst>
              </a:tr>
              <a:tr h="245740">
                <a:tc rowSpan="5"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187110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b"/>
                </a:tc>
                <a:tc rowSpan="5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Amy 1 Channel RS100 io + Frame B (RU RO SL CR EN PL CS HU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1132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effectLst/>
                        </a:rPr>
                        <a:t>SMOOVE RS100 IO PURE SHINE +  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9294411"/>
                  </a:ext>
                </a:extLst>
              </a:tr>
              <a:tr h="2715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1172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effectLst/>
                        </a:rPr>
                        <a:t>SMOOVE ORIGIN RS100 IO + FRAME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3608286485"/>
                  </a:ext>
                </a:extLst>
              </a:tr>
              <a:tr h="1357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113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effectLst/>
                        </a:rPr>
                        <a:t>SMOOVE RS100 IO PURE SHINE    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2644433519"/>
                  </a:ext>
                </a:extLst>
              </a:tr>
              <a:tr h="2457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1131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SMOOVE RS100 IO BLACK SHINE  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3854226798"/>
                  </a:ext>
                </a:extLst>
              </a:tr>
              <a:tr h="2457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1131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SMOOVE RS100 IO SILVER SHINE 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2511590037"/>
                  </a:ext>
                </a:extLst>
              </a:tr>
              <a:tr h="135768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187109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Amy 2 Channels 1to4Modes io + Frame B (RU RO SL CR EN PL CS HU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0020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effectLst/>
                        </a:rPr>
                        <a:t>SMOOVE ORIGIN 2 IO + FRAME    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1552995188"/>
                  </a:ext>
                </a:extLst>
              </a:tr>
              <a:tr h="271536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187111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Amy 4 Channels 1to4Modes io + Frame B (RU RO SL CR EN PL CS HU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1800205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effectLst/>
                        </a:rPr>
                        <a:t>SMOOVE ORIGIN 4 IO + FRAME 12L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8" marR="6788" marT="6788" marB="0" anchor="ctr"/>
                </a:tc>
                <a:extLst>
                  <a:ext uri="{0D108BD9-81ED-4DB2-BD59-A6C34878D82A}">
                    <a16:rowId xmlns:a16="http://schemas.microsoft.com/office/drawing/2014/main" val="1516365869"/>
                  </a:ext>
                </a:extLst>
              </a:tr>
            </a:tbl>
          </a:graphicData>
        </a:graphic>
      </p:graphicFrame>
      <p:sp>
        <p:nvSpPr>
          <p:cNvPr id="7" name="Titre 1">
            <a:extLst>
              <a:ext uri="{FF2B5EF4-FFF2-40B4-BE49-F238E27FC236}">
                <a16:creationId xmlns:a16="http://schemas.microsoft.com/office/drawing/2014/main" id="{2F01ABB4-24F9-482F-8AE8-873655363317}"/>
              </a:ext>
            </a:extLst>
          </p:cNvPr>
          <p:cNvSpPr txBox="1">
            <a:spLocks/>
          </p:cNvSpPr>
          <p:nvPr/>
        </p:nvSpPr>
        <p:spPr>
          <a:xfrm rot="5400000">
            <a:off x="1473008" y="-1300118"/>
            <a:ext cx="990985" cy="3937003"/>
          </a:xfrm>
          <a:prstGeom prst="round2SameRect">
            <a:avLst>
              <a:gd name="adj1" fmla="val 48876"/>
              <a:gd name="adj2" fmla="val 0"/>
            </a:avLst>
          </a:prstGeom>
          <a:noFill/>
          <a:ln w="12700">
            <a:solidFill>
              <a:schemeClr val="accent2"/>
            </a:solidFill>
          </a:ln>
        </p:spPr>
        <p:txBody>
          <a:bodyPr vert="vert270" lIns="91440" tIns="45720" rIns="91440" bIns="576000" rtlCol="0" anchor="ctr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i="0" kern="1200">
                <a:solidFill>
                  <a:schemeClr val="accent1"/>
                </a:solidFill>
                <a:latin typeface="Somfy Sans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000" b="1" i="0" u="none" strike="noStrike" kern="1200" cap="none" spc="0" normalizeH="0" baseline="0" noProof="0" dirty="0">
                <a:ln>
                  <a:noFill/>
                </a:ln>
                <a:solidFill>
                  <a:srgbClr val="485C74"/>
                </a:solidFill>
                <a:effectLst/>
                <a:uLnTx/>
                <a:uFillTx/>
                <a:ea typeface="+mj-ea"/>
                <a:cs typeface="Calibri Light" panose="020F0302020204030204" pitchFamily="34" charset="0"/>
              </a:rPr>
              <a:t>Replacements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mfy Sans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71596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BtoC">
  <a:themeElements>
    <a:clrScheme name="Personnalisé 6">
      <a:dk1>
        <a:srgbClr val="24485A"/>
      </a:dk1>
      <a:lt1>
        <a:srgbClr val="FFFFFF"/>
      </a:lt1>
      <a:dk2>
        <a:srgbClr val="7C8D9B"/>
      </a:dk2>
      <a:lt2>
        <a:srgbClr val="FFFFFF"/>
      </a:lt2>
      <a:accent1>
        <a:srgbClr val="24485A"/>
      </a:accent1>
      <a:accent2>
        <a:srgbClr val="FAB800"/>
      </a:accent2>
      <a:accent3>
        <a:srgbClr val="CCC4BD"/>
      </a:accent3>
      <a:accent4>
        <a:srgbClr val="C3D2D6"/>
      </a:accent4>
      <a:accent5>
        <a:srgbClr val="FEEDBF"/>
      </a:accent5>
      <a:accent6>
        <a:srgbClr val="FBFAF8"/>
      </a:accent6>
      <a:hlink>
        <a:srgbClr val="DF94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C.pptx" id="{D1DA1EF0-C2B0-DC4A-8A06-5F543B933898}" vid="{7BBDF827-0EBF-064E-B380-261900BE761E}"/>
    </a:ext>
  </a:extLst>
</a:theme>
</file>

<file path=ppt/theme/theme2.xml><?xml version="1.0" encoding="utf-8"?>
<a:theme xmlns:a="http://schemas.openxmlformats.org/drawingml/2006/main" name="2_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3.xml><?xml version="1.0" encoding="utf-8"?>
<a:theme xmlns:a="http://schemas.openxmlformats.org/drawingml/2006/main" name="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4.xml><?xml version="1.0" encoding="utf-8"?>
<a:theme xmlns:a="http://schemas.openxmlformats.org/drawingml/2006/main" name="1_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5.xml><?xml version="1.0" encoding="utf-8"?>
<a:theme xmlns:a="http://schemas.openxmlformats.org/drawingml/2006/main" name="3_BtoB">
  <a:themeElements>
    <a:clrScheme name="SOMFY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4484F"/>
      </a:accent1>
      <a:accent2>
        <a:srgbClr val="FFB61A"/>
      </a:accent2>
      <a:accent3>
        <a:srgbClr val="E4DBCF"/>
      </a:accent3>
      <a:accent4>
        <a:srgbClr val="FFE99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omfyB2B.potx" id="{D91C2053-4FE1-A447-B4CF-693C0214DF61}" vid="{AEAF9051-FEA7-5940-A2D3-07F19D90AF61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198A4C9DBE41DC9E4CEB39D1D3D20B00DB39C438DF6EDA418DF2A590C03B882E" ma:contentTypeVersion="16" ma:contentTypeDescription="Create a new document." ma:contentTypeScope="" ma:versionID="14d251fc83959c107b34af4afbcdf626">
  <xsd:schema xmlns:xsd="http://www.w3.org/2001/XMLSchema" xmlns:xs="http://www.w3.org/2001/XMLSchema" xmlns:p="http://schemas.microsoft.com/office/2006/metadata/properties" xmlns:ns2="20434CEC-F224-445D-89C8-DA7D5882575D" xmlns:ns3="579f8234-1b3a-43c6-877d-00555ce149dc" xmlns:ns4="3e1aacae-9e28-4cb9-a711-7bf6fdad1110" targetNamespace="http://schemas.microsoft.com/office/2006/metadata/properties" ma:root="true" ma:fieldsID="e3cccb47932b71a2dd86f71beb38e40a" ns2:_="" ns3:_="" ns4:_="">
    <xsd:import namespace="20434CEC-F224-445D-89C8-DA7D5882575D"/>
    <xsd:import namespace="579f8234-1b3a-43c6-877d-00555ce149dc"/>
    <xsd:import namespace="3e1aacae-9e28-4cb9-a711-7bf6fdad1110"/>
    <xsd:element name="properties">
      <xsd:complexType>
        <xsd:sequence>
          <xsd:element name="documentManagement">
            <xsd:complexType>
              <xsd:all>
                <xsd:element ref="ns2:SomfyTagsTaxHTField" minOccurs="0"/>
                <xsd:element ref="ns2:SomfyDocumentTypeTaxHTField" minOccurs="0"/>
                <xsd:element ref="ns3:SomfySite" minOccurs="0"/>
                <xsd:element ref="ns3:TaxCatchAll" minOccurs="0"/>
                <xsd:element ref="ns4:MediaServiceMetadata" minOccurs="0"/>
                <xsd:element ref="ns4:MediaServiceFastMetadata" minOccurs="0"/>
                <xsd:element ref="ns3:SharedWithUsers" minOccurs="0"/>
                <xsd:element ref="ns3:SharedWithDetails" minOccurs="0"/>
                <xsd:element ref="ns4:lcf76f155ced4ddcb4097134ff3c332f" minOccurs="0"/>
                <xsd:element ref="ns4:MediaServiceDateTaken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LengthInSeconds" minOccurs="0"/>
                <xsd:element ref="ns4:MediaServiceObjectDetectorVersions" minOccurs="0"/>
                <xsd:element ref="ns4:MediaServiceSearchProperties" minOccurs="0"/>
                <xsd:element ref="ns4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434CEC-F224-445D-89C8-DA7D5882575D" elementFormDefault="qualified">
    <xsd:import namespace="http://schemas.microsoft.com/office/2006/documentManagement/types"/>
    <xsd:import namespace="http://schemas.microsoft.com/office/infopath/2007/PartnerControls"/>
    <xsd:element name="SomfyTagsTaxHTField" ma:index="8" nillable="true" ma:taxonomy="true" ma:internalName="SomfyTagsTaxHTField" ma:taxonomyFieldName="SomfyTags" ma:displayName="Tags" ma:fieldId="{8b81c89c-6d4b-4a9e-bfe4-626fe045d6df}" ma:taxonomyMulti="true" ma:sspId="4560a912-820e-4fa3-9fe9-00a4a9064378" ma:termSetId="3ac6d041-c917-422f-9282-66ea33c5c43a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SomfyDocumentTypeTaxHTField" ma:index="10" nillable="true" ma:taxonomy="true" ma:internalName="SomfyDocumentTypeTaxHTField" ma:taxonomyFieldName="SomfyDocumentType" ma:displayName="Document Type" ma:fieldId="{809ca003-ebd1-4854-a594-2d312d6d6983}" ma:sspId="4560a912-820e-4fa3-9fe9-00a4a9064378" ma:termSetId="8b5d468f-06c9-4f1d-a6b4-0e5e089ccb37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9f8234-1b3a-43c6-877d-00555ce149dc" elementFormDefault="qualified">
    <xsd:import namespace="http://schemas.microsoft.com/office/2006/documentManagement/types"/>
    <xsd:import namespace="http://schemas.microsoft.com/office/infopath/2007/PartnerControls"/>
    <xsd:element name="SomfySite" ma:index="12" nillable="true" ma:displayName="Site" ma:hidden="true" ma:internalName="SomfySite">
      <xsd:simpleType>
        <xsd:restriction base="dms:Text">
          <xsd:maxLength value="255"/>
        </xsd:restriction>
      </xsd:simpleType>
    </xsd:element>
    <xsd:element name="TaxCatchAll" ma:index="13" nillable="true" ma:displayName="Taxonomy Catch All Column" ma:description="" ma:hidden="true" ma:list="{4b62be17-7237-4d73-8643-1aaf087bd901}" ma:internalName="TaxCatchAll" ma:showField="CatchAllData" ma:web="579f8234-1b3a-43c6-877d-00555ce149d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1aacae-9e28-4cb9-a711-7bf6fdad11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4560a912-820e-4fa3-9fe9-00a4a906437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79f8234-1b3a-43c6-877d-00555ce149dc">
      <UserInfo>
        <DisplayName>HRNCIR, Jan</DisplayName>
        <AccountId>8385</AccountId>
        <AccountType/>
      </UserInfo>
    </SharedWithUsers>
    <SomfyDocumentTypeTaxHTField xmlns="20434CEC-F224-445D-89C8-DA7D5882575D">
      <Terms xmlns="http://schemas.microsoft.com/office/infopath/2007/PartnerControls"/>
    </SomfyDocumentTypeTaxHTField>
    <SomfyTagsTaxHTField xmlns="20434CEC-F224-445D-89C8-DA7D5882575D">
      <Terms xmlns="http://schemas.microsoft.com/office/infopath/2007/PartnerControls"/>
    </SomfyTagsTaxHTField>
    <TaxCatchAll xmlns="579f8234-1b3a-43c6-877d-00555ce149dc" xsi:nil="true"/>
    <lcf76f155ced4ddcb4097134ff3c332f xmlns="3e1aacae-9e28-4cb9-a711-7bf6fdad1110">
      <Terms xmlns="http://schemas.microsoft.com/office/infopath/2007/PartnerControls"/>
    </lcf76f155ced4ddcb4097134ff3c332f>
    <SomfySite xmlns="579f8234-1b3a-43c6-877d-00555ce149dc" xsi:nil="true"/>
  </documentManagement>
</p:properties>
</file>

<file path=customXml/itemProps1.xml><?xml version="1.0" encoding="utf-8"?>
<ds:datastoreItem xmlns:ds="http://schemas.openxmlformats.org/officeDocument/2006/customXml" ds:itemID="{9F0CC633-74FE-419D-929C-9FEFF342768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0EEFC37-0C5B-428C-9C4E-897683D9A0C1}">
  <ds:schemaRefs>
    <ds:schemaRef ds:uri="20434CEC-F224-445D-89C8-DA7D5882575D"/>
    <ds:schemaRef ds:uri="3e1aacae-9e28-4cb9-a711-7bf6fdad1110"/>
    <ds:schemaRef ds:uri="579f8234-1b3a-43c6-877d-00555ce149d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2F3808B-8BBE-4A71-A001-A90A7F9A0D1E}">
  <ds:schemaRefs>
    <ds:schemaRef ds:uri="20434CEC-F224-445D-89C8-DA7D5882575D"/>
    <ds:schemaRef ds:uri="3e1aacae-9e28-4cb9-a711-7bf6fdad1110"/>
    <ds:schemaRef ds:uri="579f8234-1b3a-43c6-877d-00555ce149dc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ème Office</Template>
  <TotalTime>713</TotalTime>
  <Words>470</Words>
  <Application>Microsoft Office PowerPoint</Application>
  <PresentationFormat>Widescreen</PresentationFormat>
  <Paragraphs>101</Paragraphs>
  <Slides>4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BtoC</vt:lpstr>
      <vt:lpstr>2_BtoB</vt:lpstr>
      <vt:lpstr>BtoB</vt:lpstr>
      <vt:lpstr>1_BtoB</vt:lpstr>
      <vt:lpstr>3_BtoB</vt:lpstr>
      <vt:lpstr>Smoove phase out information  Amy io rang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  la présentation  en 3 lignes</dc:title>
  <dc:creator>Ferry, Joanna (PAR-FUB)</dc:creator>
  <cp:lastModifiedBy>HRNCIR, Jan</cp:lastModifiedBy>
  <cp:revision>16</cp:revision>
  <dcterms:created xsi:type="dcterms:W3CDTF">2022-05-02T10:02:42Z</dcterms:created>
  <dcterms:modified xsi:type="dcterms:W3CDTF">2025-09-25T14:2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fcb221a-6e97-4d92-b656-ecf531a71c86_Enabled">
    <vt:lpwstr>true</vt:lpwstr>
  </property>
  <property fmtid="{D5CDD505-2E9C-101B-9397-08002B2CF9AE}" pid="3" name="MSIP_Label_afcb221a-6e97-4d92-b656-ecf531a71c86_SetDate">
    <vt:lpwstr>2022-11-18T09:51:33Z</vt:lpwstr>
  </property>
  <property fmtid="{D5CDD505-2E9C-101B-9397-08002B2CF9AE}" pid="4" name="MSIP_Label_afcb221a-6e97-4d92-b656-ecf531a71c86_Method">
    <vt:lpwstr>Standard</vt:lpwstr>
  </property>
  <property fmtid="{D5CDD505-2E9C-101B-9397-08002B2CF9AE}" pid="5" name="MSIP_Label_afcb221a-6e97-4d92-b656-ecf531a71c86_Name">
    <vt:lpwstr>General</vt:lpwstr>
  </property>
  <property fmtid="{D5CDD505-2E9C-101B-9397-08002B2CF9AE}" pid="6" name="MSIP_Label_afcb221a-6e97-4d92-b656-ecf531a71c86_SiteId">
    <vt:lpwstr>6f2633ea-c60d-4a07-be1c-b5cd19f27133</vt:lpwstr>
  </property>
  <property fmtid="{D5CDD505-2E9C-101B-9397-08002B2CF9AE}" pid="7" name="MSIP_Label_afcb221a-6e97-4d92-b656-ecf531a71c86_ActionId">
    <vt:lpwstr>a5b01d10-b8c9-409f-8729-884a06ec42b7</vt:lpwstr>
  </property>
  <property fmtid="{D5CDD505-2E9C-101B-9397-08002B2CF9AE}" pid="8" name="MSIP_Label_afcb221a-6e97-4d92-b656-ecf531a71c86_ContentBits">
    <vt:lpwstr>0</vt:lpwstr>
  </property>
  <property fmtid="{D5CDD505-2E9C-101B-9397-08002B2CF9AE}" pid="9" name="ContentTypeId">
    <vt:lpwstr>0x010100E9198A4C9DBE41DC9E4CEB39D1D3D20B00DB39C438DF6EDA418DF2A590C03B882E</vt:lpwstr>
  </property>
  <property fmtid="{D5CDD505-2E9C-101B-9397-08002B2CF9AE}" pid="10" name="MediaServiceImageTags">
    <vt:lpwstr/>
  </property>
  <property fmtid="{D5CDD505-2E9C-101B-9397-08002B2CF9AE}" pid="11" name="SomfyDocumentType">
    <vt:lpwstr/>
  </property>
  <property fmtid="{D5CDD505-2E9C-101B-9397-08002B2CF9AE}" pid="12" name="SomfyTags">
    <vt:lpwstr/>
  </property>
</Properties>
</file>